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</p:sldMasterIdLst>
  <p:notesMasterIdLst>
    <p:notesMasterId r:id="rId21"/>
  </p:notesMasterIdLst>
  <p:sldIdLst>
    <p:sldId id="270" r:id="rId2"/>
    <p:sldId id="3692" r:id="rId3"/>
    <p:sldId id="499" r:id="rId4"/>
    <p:sldId id="3699" r:id="rId5"/>
    <p:sldId id="3691" r:id="rId6"/>
    <p:sldId id="3693" r:id="rId7"/>
    <p:sldId id="3694" r:id="rId8"/>
    <p:sldId id="3695" r:id="rId9"/>
    <p:sldId id="3698" r:id="rId10"/>
    <p:sldId id="3700" r:id="rId11"/>
    <p:sldId id="3702" r:id="rId12"/>
    <p:sldId id="503" r:id="rId13"/>
    <p:sldId id="505" r:id="rId14"/>
    <p:sldId id="486" r:id="rId15"/>
    <p:sldId id="346" r:id="rId16"/>
    <p:sldId id="456" r:id="rId17"/>
    <p:sldId id="3666" r:id="rId18"/>
    <p:sldId id="296" r:id="rId19"/>
    <p:sldId id="3703" r:id="rId20"/>
  </p:sldIdLst>
  <p:sldSz cx="9144000" cy="6858000" type="screen4x3"/>
  <p:notesSz cx="6858000" cy="9144000"/>
  <p:defaultTextStyle>
    <a:defPPr>
      <a:defRPr lang="pl-PL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F0A8"/>
    <a:srgbClr val="FFFF00"/>
    <a:srgbClr val="FF0000"/>
    <a:srgbClr val="66FF33"/>
    <a:srgbClr val="B2C717"/>
    <a:srgbClr val="CDE51B"/>
    <a:srgbClr val="D5E93F"/>
    <a:srgbClr val="DAEB53"/>
    <a:srgbClr val="DDFC42"/>
    <a:srgbClr val="CC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1" d="100"/>
          <a:sy n="91" d="100"/>
        </p:scale>
        <p:origin x="638" y="5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>
            <a:extLst>
              <a:ext uri="{FF2B5EF4-FFF2-40B4-BE49-F238E27FC236}">
                <a16:creationId xmlns:a16="http://schemas.microsoft.com/office/drawing/2014/main" id="{9ECA3BD9-8DF0-F4F4-5DE9-2AD4C35A0E82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4275" name="Rectangle 3">
            <a:extLst>
              <a:ext uri="{FF2B5EF4-FFF2-40B4-BE49-F238E27FC236}">
                <a16:creationId xmlns:a16="http://schemas.microsoft.com/office/drawing/2014/main" id="{9F095905-9CB9-A4BC-4F7B-913FF377FB46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700" name="Rectangle 4">
            <a:extLst>
              <a:ext uri="{FF2B5EF4-FFF2-40B4-BE49-F238E27FC236}">
                <a16:creationId xmlns:a16="http://schemas.microsoft.com/office/drawing/2014/main" id="{757BEA0E-1D69-24E5-8522-E4C45B960567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7" name="Rectangle 5">
            <a:extLst>
              <a:ext uri="{FF2B5EF4-FFF2-40B4-BE49-F238E27FC236}">
                <a16:creationId xmlns:a16="http://schemas.microsoft.com/office/drawing/2014/main" id="{F35F8414-038A-FAC3-E2E9-72241022A485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4278" name="Rectangle 6">
            <a:extLst>
              <a:ext uri="{FF2B5EF4-FFF2-40B4-BE49-F238E27FC236}">
                <a16:creationId xmlns:a16="http://schemas.microsoft.com/office/drawing/2014/main" id="{823B37C4-937B-ECC5-84C7-77D53294CF7B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4279" name="Rectangle 7">
            <a:extLst>
              <a:ext uri="{FF2B5EF4-FFF2-40B4-BE49-F238E27FC236}">
                <a16:creationId xmlns:a16="http://schemas.microsoft.com/office/drawing/2014/main" id="{1F945737-E04F-3486-2A01-CF2B616BCD3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AEE7AEEB-B429-4C2A-AA12-E4938C44085D}" type="slidenum">
              <a:rPr lang="en-US" altLang="pl-PL"/>
              <a:pPr/>
              <a:t>‹#›</a:t>
            </a:fld>
            <a:endParaRPr lang="en-US" alt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551F00C4-DD67-CBAD-A2A2-BA35DB36D59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1C8A74C-B03D-4B22-9575-0BF183F41E7A}" type="slidenum">
              <a:rPr lang="en-US" altLang="pl-PL" sz="1200"/>
              <a:pPr/>
              <a:t>1</a:t>
            </a:fld>
            <a:endParaRPr lang="en-US" altLang="pl-PL" sz="1200"/>
          </a:p>
        </p:txBody>
      </p:sp>
      <p:sp>
        <p:nvSpPr>
          <p:cNvPr id="30723" name="Rectangle 2">
            <a:extLst>
              <a:ext uri="{FF2B5EF4-FFF2-40B4-BE49-F238E27FC236}">
                <a16:creationId xmlns:a16="http://schemas.microsoft.com/office/drawing/2014/main" id="{BF9C0BEF-CBE6-6DF4-0082-16EED315E6D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3">
            <a:extLst>
              <a:ext uri="{FF2B5EF4-FFF2-40B4-BE49-F238E27FC236}">
                <a16:creationId xmlns:a16="http://schemas.microsoft.com/office/drawing/2014/main" id="{69EBC8F3-4532-EB93-CF9C-9AB96C15A5E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pl-PL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pl-PL" smtClean="0"/>
              <a:t>16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805005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>
            <a:extLst>
              <a:ext uri="{FF2B5EF4-FFF2-40B4-BE49-F238E27FC236}">
                <a16:creationId xmlns:a16="http://schemas.microsoft.com/office/drawing/2014/main" id="{EB05D59A-62FE-D0F4-6671-A51A4A5EFEEE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97739ED-7BBE-9737-9776-4C3737FD5B41}"/>
                </a:ext>
              </a:extLst>
            </p:cNvPr>
            <p:cNvSpPr>
              <a:spLocks noChangeArrowheads="1"/>
            </p:cNvSpPr>
            <p:nvPr/>
          </p:nvSpPr>
          <p:spPr bwMode="hidden">
            <a:xfrm>
              <a:off x="0" y="0"/>
              <a:ext cx="5760" cy="535"/>
            </a:xfrm>
            <a:prstGeom prst="rect">
              <a:avLst/>
            </a:prstGeom>
            <a:gradFill rotWithShape="0">
              <a:gsLst>
                <a:gs pos="0">
                  <a:schemeClr val="folHlink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" name="Rectangle 4">
              <a:extLst>
                <a:ext uri="{FF2B5EF4-FFF2-40B4-BE49-F238E27FC236}">
                  <a16:creationId xmlns:a16="http://schemas.microsoft.com/office/drawing/2014/main" id="{A2DBA7E1-58F6-6D39-984E-DA708E05F99C}"/>
                </a:ext>
              </a:extLst>
            </p:cNvPr>
            <p:cNvSpPr>
              <a:spLocks noChangeArrowheads="1"/>
            </p:cNvSpPr>
            <p:nvPr/>
          </p:nvSpPr>
          <p:spPr bwMode="hidden">
            <a:xfrm>
              <a:off x="0" y="3147"/>
              <a:ext cx="5760" cy="1173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5" name="Group 10">
            <a:extLst>
              <a:ext uri="{FF2B5EF4-FFF2-40B4-BE49-F238E27FC236}">
                <a16:creationId xmlns:a16="http://schemas.microsoft.com/office/drawing/2014/main" id="{49E7177C-A131-8669-74F6-77E127E7F87E}"/>
              </a:ext>
            </a:extLst>
          </p:cNvPr>
          <p:cNvGrpSpPr>
            <a:grpSpLocks/>
          </p:cNvGrpSpPr>
          <p:nvPr/>
        </p:nvGrpSpPr>
        <p:grpSpPr bwMode="auto">
          <a:xfrm>
            <a:off x="152400" y="314325"/>
            <a:ext cx="847725" cy="6543675"/>
            <a:chOff x="96" y="198"/>
            <a:chExt cx="534" cy="4122"/>
          </a:xfrm>
        </p:grpSpPr>
        <p:sp>
          <p:nvSpPr>
            <p:cNvPr id="6" name="AutoShape 11">
              <a:extLst>
                <a:ext uri="{FF2B5EF4-FFF2-40B4-BE49-F238E27FC236}">
                  <a16:creationId xmlns:a16="http://schemas.microsoft.com/office/drawing/2014/main" id="{396B5E55-6C2C-E0C7-CF98-EB464104143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2" y="1995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" name="AutoShape 12">
              <a:extLst>
                <a:ext uri="{FF2B5EF4-FFF2-40B4-BE49-F238E27FC236}">
                  <a16:creationId xmlns:a16="http://schemas.microsoft.com/office/drawing/2014/main" id="{C3F215CC-8344-7297-76AE-336494DE9CD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2" y="2589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" name="AutoShape 13">
              <a:extLst>
                <a:ext uri="{FF2B5EF4-FFF2-40B4-BE49-F238E27FC236}">
                  <a16:creationId xmlns:a16="http://schemas.microsoft.com/office/drawing/2014/main" id="{113D9327-E091-B008-91D2-23A5AD4CC5E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1" y="3181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" name="AutoShape 14">
              <a:extLst>
                <a:ext uri="{FF2B5EF4-FFF2-40B4-BE49-F238E27FC236}">
                  <a16:creationId xmlns:a16="http://schemas.microsoft.com/office/drawing/2014/main" id="{591CB164-0C7E-015E-F931-5800D52588D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3" y="3776"/>
              <a:ext cx="558" cy="533"/>
            </a:xfrm>
            <a:prstGeom prst="parallelogram">
              <a:avLst>
                <a:gd name="adj" fmla="val 55437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" name="AutoShape 15">
              <a:extLst>
                <a:ext uri="{FF2B5EF4-FFF2-40B4-BE49-F238E27FC236}">
                  <a16:creationId xmlns:a16="http://schemas.microsoft.com/office/drawing/2014/main" id="{74B8CD17-A727-1509-D8A7-D4697AA346F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2" y="213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" name="AutoShape 16">
              <a:extLst>
                <a:ext uri="{FF2B5EF4-FFF2-40B4-BE49-F238E27FC236}">
                  <a16:creationId xmlns:a16="http://schemas.microsoft.com/office/drawing/2014/main" id="{5601CA5D-9546-429D-E4B5-A948768E2F0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1" y="803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" name="AutoShape 17">
              <a:extLst>
                <a:ext uri="{FF2B5EF4-FFF2-40B4-BE49-F238E27FC236}">
                  <a16:creationId xmlns:a16="http://schemas.microsoft.com/office/drawing/2014/main" id="{27E31926-BF32-E537-3241-4FA494B2A5C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1" y="1399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13" name="Rectangle 18">
            <a:extLst>
              <a:ext uri="{FF2B5EF4-FFF2-40B4-BE49-F238E27FC236}">
                <a16:creationId xmlns:a16="http://schemas.microsoft.com/office/drawing/2014/main" id="{F1294558-E73D-9AB4-3A6A-ABDB08303D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325" y="0"/>
            <a:ext cx="276225" cy="6858000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50000">
                <a:schemeClr val="folHlink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4" name="AutoShape 19">
            <a:extLst>
              <a:ext uri="{FF2B5EF4-FFF2-40B4-BE49-F238E27FC236}">
                <a16:creationId xmlns:a16="http://schemas.microsoft.com/office/drawing/2014/main" id="{313F16D3-2A47-01BA-8862-69E95958F991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47688" y="2717800"/>
            <a:ext cx="8596312" cy="254000"/>
          </a:xfrm>
          <a:prstGeom prst="homePlate">
            <a:avLst>
              <a:gd name="adj" fmla="val 58913"/>
            </a:avLst>
          </a:prstGeom>
          <a:gradFill rotWithShape="0">
            <a:gsLst>
              <a:gs pos="0">
                <a:schemeClr val="bg2"/>
              </a:gs>
              <a:gs pos="50000">
                <a:schemeClr val="folHlink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96B91B79-DA8B-3955-EC1F-B488E49F4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388" y="2697163"/>
            <a:ext cx="295275" cy="274637"/>
          </a:xfrm>
          <a:prstGeom prst="ellipse">
            <a:avLst/>
          </a:prstGeom>
          <a:gradFill rotWithShape="0">
            <a:gsLst>
              <a:gs pos="0">
                <a:srgbClr val="FEFFFF"/>
              </a:gs>
              <a:gs pos="100000">
                <a:schemeClr val="folHlink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6" name="Rectangle 21">
            <a:extLst>
              <a:ext uri="{FF2B5EF4-FFF2-40B4-BE49-F238E27FC236}">
                <a16:creationId xmlns:a16="http://schemas.microsoft.com/office/drawing/2014/main" id="{893328BB-37C0-835D-7E91-5DCC35267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50" y="2700338"/>
            <a:ext cx="161925" cy="415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7" name="Oval 22">
            <a:extLst>
              <a:ext uri="{FF2B5EF4-FFF2-40B4-BE49-F238E27FC236}">
                <a16:creationId xmlns:a16="http://schemas.microsoft.com/office/drawing/2014/main" id="{68F439BE-2632-B35A-8BF6-F9C1BF0F03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6075" y="2697163"/>
            <a:ext cx="304800" cy="274637"/>
          </a:xfrm>
          <a:prstGeom prst="ellipse">
            <a:avLst/>
          </a:prstGeom>
          <a:gradFill rotWithShape="0">
            <a:gsLst>
              <a:gs pos="0">
                <a:srgbClr val="FEFFFF"/>
              </a:gs>
              <a:gs pos="100000">
                <a:schemeClr val="folHlink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8" name="Rectangle 23">
            <a:extLst>
              <a:ext uri="{FF2B5EF4-FFF2-40B4-BE49-F238E27FC236}">
                <a16:creationId xmlns:a16="http://schemas.microsoft.com/office/drawing/2014/main" id="{DE9BB69A-3B25-58D3-4F0C-40332FECAC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2760663"/>
            <a:ext cx="8751887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grpSp>
        <p:nvGrpSpPr>
          <p:cNvPr id="19" name="Group 24">
            <a:extLst>
              <a:ext uri="{FF2B5EF4-FFF2-40B4-BE49-F238E27FC236}">
                <a16:creationId xmlns:a16="http://schemas.microsoft.com/office/drawing/2014/main" id="{A305DC07-AAD2-323F-188F-921280E9D716}"/>
              </a:ext>
            </a:extLst>
          </p:cNvPr>
          <p:cNvGrpSpPr>
            <a:grpSpLocks/>
          </p:cNvGrpSpPr>
          <p:nvPr/>
        </p:nvGrpSpPr>
        <p:grpSpPr bwMode="auto">
          <a:xfrm>
            <a:off x="150813" y="0"/>
            <a:ext cx="849312" cy="6858000"/>
            <a:chOff x="95" y="0"/>
            <a:chExt cx="535" cy="4320"/>
          </a:xfrm>
        </p:grpSpPr>
        <p:sp>
          <p:nvSpPr>
            <p:cNvPr id="20" name="AutoShape 25">
              <a:extLst>
                <a:ext uri="{FF2B5EF4-FFF2-40B4-BE49-F238E27FC236}">
                  <a16:creationId xmlns:a16="http://schemas.microsoft.com/office/drawing/2014/main" id="{B00B82D7-6D9A-4696-B83A-96F0AA055AB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2" y="2291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1" name="AutoShape 26">
              <a:extLst>
                <a:ext uri="{FF2B5EF4-FFF2-40B4-BE49-F238E27FC236}">
                  <a16:creationId xmlns:a16="http://schemas.microsoft.com/office/drawing/2014/main" id="{1ACA84DE-9703-F013-6618-41C0B07FE1D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1" y="2886"/>
              <a:ext cx="565" cy="533"/>
            </a:xfrm>
            <a:prstGeom prst="parallelogram">
              <a:avLst>
                <a:gd name="adj" fmla="val 56133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2" name="AutoShape 27">
              <a:extLst>
                <a:ext uri="{FF2B5EF4-FFF2-40B4-BE49-F238E27FC236}">
                  <a16:creationId xmlns:a16="http://schemas.microsoft.com/office/drawing/2014/main" id="{19B077EF-CEBA-F752-0928-428B0A986FF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1" y="3479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3" name="AutoShape 28">
              <a:extLst>
                <a:ext uri="{FF2B5EF4-FFF2-40B4-BE49-F238E27FC236}">
                  <a16:creationId xmlns:a16="http://schemas.microsoft.com/office/drawing/2014/main" id="{0C1B7D92-AEE0-D1A9-44E8-A06D774FDBD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1" y="508"/>
              <a:ext cx="565" cy="533"/>
            </a:xfrm>
            <a:prstGeom prst="parallelogram">
              <a:avLst>
                <a:gd name="adj" fmla="val 56133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4" name="AutoShape 29">
              <a:extLst>
                <a:ext uri="{FF2B5EF4-FFF2-40B4-BE49-F238E27FC236}">
                  <a16:creationId xmlns:a16="http://schemas.microsoft.com/office/drawing/2014/main" id="{B4F389D3-6C8C-FA71-077D-5D07A33BA1C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1" y="1101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5" name="AutoShape 30">
              <a:extLst>
                <a:ext uri="{FF2B5EF4-FFF2-40B4-BE49-F238E27FC236}">
                  <a16:creationId xmlns:a16="http://schemas.microsoft.com/office/drawing/2014/main" id="{B333F1CD-7F57-58A7-A59D-0977B647121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1" y="1697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76526BB9-3E54-BC16-C694-179E0D88D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" y="0"/>
              <a:ext cx="532" cy="46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66"/>
                </a:cxn>
                <a:cxn ang="0">
                  <a:pos x="532" y="465"/>
                </a:cxn>
                <a:cxn ang="0">
                  <a:pos x="532" y="201"/>
                </a:cxn>
                <a:cxn ang="0">
                  <a:pos x="172" y="0"/>
                </a:cxn>
                <a:cxn ang="0">
                  <a:pos x="1" y="0"/>
                </a:cxn>
              </a:cxnLst>
              <a:rect l="0" t="0" r="r" b="b"/>
              <a:pathLst>
                <a:path w="532" h="465">
                  <a:moveTo>
                    <a:pt x="1" y="0"/>
                  </a:moveTo>
                  <a:lnTo>
                    <a:pt x="0" y="166"/>
                  </a:lnTo>
                  <a:lnTo>
                    <a:pt x="532" y="465"/>
                  </a:lnTo>
                  <a:lnTo>
                    <a:pt x="532" y="201"/>
                  </a:lnTo>
                  <a:lnTo>
                    <a:pt x="172" y="0"/>
                  </a:lnTo>
                  <a:lnTo>
                    <a:pt x="1" y="0"/>
                  </a:ln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 cap="flat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" name="Freeform 32">
              <a:extLst>
                <a:ext uri="{FF2B5EF4-FFF2-40B4-BE49-F238E27FC236}">
                  <a16:creationId xmlns:a16="http://schemas.microsoft.com/office/drawing/2014/main" id="{E80328DD-D304-1FA6-69B5-50B12B128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" y="4060"/>
              <a:ext cx="457" cy="260"/>
            </a:xfrm>
            <a:custGeom>
              <a:avLst/>
              <a:gdLst/>
              <a:ahLst/>
              <a:cxnLst>
                <a:cxn ang="0">
                  <a:pos x="457" y="260"/>
                </a:cxn>
                <a:cxn ang="0">
                  <a:pos x="1" y="0"/>
                </a:cxn>
                <a:cxn ang="0">
                  <a:pos x="0" y="264"/>
                </a:cxn>
                <a:cxn ang="0">
                  <a:pos x="457" y="260"/>
                </a:cxn>
              </a:cxnLst>
              <a:rect l="0" t="0" r="r" b="b"/>
              <a:pathLst>
                <a:path w="457" h="264">
                  <a:moveTo>
                    <a:pt x="457" y="260"/>
                  </a:moveTo>
                  <a:lnTo>
                    <a:pt x="1" y="0"/>
                  </a:lnTo>
                  <a:lnTo>
                    <a:pt x="0" y="264"/>
                  </a:lnTo>
                  <a:lnTo>
                    <a:pt x="457" y="260"/>
                  </a:ln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 cap="flat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410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295400" y="15240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 tytułu</a:t>
            </a:r>
            <a:br>
              <a:rPr lang="pl-PL"/>
            </a:br>
            <a:r>
              <a:rPr lang="pl-PL"/>
              <a:t>z Wzorca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>
              <a:buFont typeface="Monotype Sorts" pitchFamily="2" charset="2"/>
              <a:buNone/>
              <a:defRPr/>
            </a:lvl1pPr>
          </a:lstStyle>
          <a:p>
            <a:r>
              <a:rPr lang="pl-PL"/>
              <a:t>Kliknij, aby edytować styl podtytułu z Wzorca</a:t>
            </a:r>
          </a:p>
        </p:txBody>
      </p:sp>
      <p:sp>
        <p:nvSpPr>
          <p:cNvPr id="28" name="Rectangle 7">
            <a:extLst>
              <a:ext uri="{FF2B5EF4-FFF2-40B4-BE49-F238E27FC236}">
                <a16:creationId xmlns:a16="http://schemas.microsoft.com/office/drawing/2014/main" id="{88C609B2-D6C3-D5BF-CE89-765CD21B1A7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1295400" y="6248400"/>
            <a:ext cx="1905000" cy="4572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29" name="Rectangle 8">
            <a:extLst>
              <a:ext uri="{FF2B5EF4-FFF2-40B4-BE49-F238E27FC236}">
                <a16:creationId xmlns:a16="http://schemas.microsoft.com/office/drawing/2014/main" id="{D9A3E772-CA10-0F9A-E6E9-605DE315088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733800" y="6248400"/>
            <a:ext cx="2895600" cy="4572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289DBA5B-9B8E-980F-EEA5-C101A097264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7162800" y="6248400"/>
            <a:ext cx="1905000" cy="4572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F910C4E0-7A6A-4C52-8AAE-A80A95F87FD3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660958573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D39CA05D-A48E-28D0-F76B-6C5351FB5C2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CEC3717-8F70-F61D-4504-9F136042966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73356F59-AE37-0394-37D3-52544C82107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B437A78-0DAC-4338-9285-17BDD0AB7D8F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15301227"/>
      </p:ext>
    </p:extLst>
  </p:cSld>
  <p:clrMapOvr>
    <a:masterClrMapping/>
  </p:clrMapOvr>
  <p:transition>
    <p:blinds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8500" y="419100"/>
            <a:ext cx="1943100" cy="5740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9200" y="419100"/>
            <a:ext cx="5676900" cy="5740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CFDA91BD-3198-1104-3C01-96781D2141D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CB3332C-7B41-0703-05AA-2162BDD84F3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2B628BDD-7030-87CF-30B8-DC839D134FD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DD185C-213D-4E14-930E-67EBA05DE236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4126997656"/>
      </p:ext>
    </p:extLst>
  </p:cSld>
  <p:clrMapOvr>
    <a:masterClrMapping/>
  </p:clrMapOvr>
  <p:transition>
    <p:blinds dir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24667FB3-A7CA-C42E-24ED-32521745E60D}"/>
              </a:ext>
            </a:extLst>
          </p:cNvPr>
          <p:cNvSpPr txBox="1">
            <a:spLocks/>
          </p:cNvSpPr>
          <p:nvPr userDrawn="1"/>
        </p:nvSpPr>
        <p:spPr>
          <a:xfrm>
            <a:off x="483816" y="2328203"/>
            <a:ext cx="4213556" cy="2355604"/>
          </a:xfrm>
          <a:prstGeom prst="rect">
            <a:avLst/>
          </a:prstGeom>
        </p:spPr>
        <p:txBody>
          <a:bodyPr anchor="ctr"/>
          <a:lstStyle>
            <a:lvl1pPr marL="0" indent="0" algn="l" defTabSz="767913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6000" kern="1200" spc="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342899" indent="0" algn="l" defTabSz="767913" rtl="0" eaLnBrk="1" latinLnBrk="0" hangingPunct="1">
              <a:lnSpc>
                <a:spcPct val="90000"/>
              </a:lnSpc>
              <a:spcBef>
                <a:spcPts val="420"/>
              </a:spcBef>
              <a:buFont typeface="Arial" panose="020B0604020202020204" pitchFamily="34" charset="0"/>
              <a:buNone/>
              <a:defRPr sz="8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97" indent="0" algn="l" defTabSz="767913" rtl="0" eaLnBrk="1" latinLnBrk="0" hangingPunct="1">
              <a:lnSpc>
                <a:spcPct val="90000"/>
              </a:lnSpc>
              <a:spcBef>
                <a:spcPts val="420"/>
              </a:spcBef>
              <a:buFont typeface="Arial" panose="020B0604020202020204" pitchFamily="34" charset="0"/>
              <a:buNone/>
              <a:defRPr sz="8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92978" indent="0" algn="l" defTabSz="767913" rtl="0" eaLnBrk="1" latinLnBrk="0" hangingPunct="1">
              <a:lnSpc>
                <a:spcPct val="90000"/>
              </a:lnSpc>
              <a:spcBef>
                <a:spcPts val="420"/>
              </a:spcBef>
              <a:buFont typeface="Arial" panose="020B0604020202020204" pitchFamily="34" charset="0"/>
              <a:buNone/>
              <a:defRPr sz="8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3489" indent="0" algn="l" defTabSz="767913" rtl="0" eaLnBrk="1" latinLnBrk="0" hangingPunct="1">
              <a:lnSpc>
                <a:spcPct val="90000"/>
              </a:lnSpc>
              <a:spcBef>
                <a:spcPts val="420"/>
              </a:spcBef>
              <a:buFont typeface="Arial" panose="020B0604020202020204" pitchFamily="34" charset="0"/>
              <a:buNone/>
              <a:defRPr sz="8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11761" indent="-191978" algn="l" defTabSz="767913" rtl="0" eaLnBrk="1" latinLnBrk="0" hangingPunct="1">
              <a:lnSpc>
                <a:spcPct val="90000"/>
              </a:lnSpc>
              <a:spcBef>
                <a:spcPts val="420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95718" indent="-191978" algn="l" defTabSz="767913" rtl="0" eaLnBrk="1" latinLnBrk="0" hangingPunct="1">
              <a:lnSpc>
                <a:spcPct val="90000"/>
              </a:lnSpc>
              <a:spcBef>
                <a:spcPts val="420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9674" indent="-191978" algn="l" defTabSz="767913" rtl="0" eaLnBrk="1" latinLnBrk="0" hangingPunct="1">
              <a:lnSpc>
                <a:spcPct val="90000"/>
              </a:lnSpc>
              <a:spcBef>
                <a:spcPts val="420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3631" indent="-191978" algn="l" defTabSz="767913" rtl="0" eaLnBrk="1" latinLnBrk="0" hangingPunct="1">
              <a:lnSpc>
                <a:spcPct val="90000"/>
              </a:lnSpc>
              <a:spcBef>
                <a:spcPts val="420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63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l-PL" sz="285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2050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animMotion origin="layout" path="M 3.60204E-6 -9.92282E-7 L 3.60204E-6 0.03473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 build="p">
        <p:tmplLst>
          <p:tmpl lvl="1"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8.33333E-7 4.32099E-6 L 8.33333E-7 0.03472 " pathEditMode="relative" rAng="0" ptsTypes="AA">
                      <p:cBhvr>
                        <p:cTn dur="500" spd="-100000" fill="hold"/>
                        <p:tgtEl>
                          <p:spTgt spid="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28"/>
                    </p:animMotion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pos="431">
          <p15:clr>
            <a:srgbClr val="FBAE40"/>
          </p15:clr>
        </p15:guide>
        <p15:guide id="3" pos="3728">
          <p15:clr>
            <a:srgbClr val="FBAE40"/>
          </p15:clr>
        </p15:guide>
        <p15:guide id="4" orient="horz" pos="191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FFEFFAC1-AFBC-9440-2C6E-B886CC6FCF7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E4AE025-785F-F859-8255-AD70A42DAD0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43254271-9411-2E0E-DD0C-8ACE2159743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F5DD4D5-D4C3-49BA-BBAB-09779B7387AD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726817426"/>
      </p:ext>
    </p:extLst>
  </p:cSld>
  <p:clrMapOvr>
    <a:masterClrMapping/>
  </p:clrMapOvr>
  <p:transition>
    <p:blinds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FC2C964B-5E0D-F1A1-E21B-E4EA01B381B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F98C02C3-C577-0137-5048-DC319F7FB84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A8925C9C-DF8F-7EFE-209C-67DB53BB0CD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5916A0-3006-4A23-AFB9-CAD6130253AE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021019262"/>
      </p:ext>
    </p:extLst>
  </p:cSld>
  <p:clrMapOvr>
    <a:masterClrMapping/>
  </p:clrMapOvr>
  <p:transition>
    <p:blinds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9200" y="20447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1600" y="20447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B3B70C6-67D0-96FB-D2A5-5778E25CCE0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09F36B-CB86-558B-71A8-5AC6FB22E22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24C621B-80F8-2FA5-B492-4429BEE9726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9BD96C0-DD9A-4232-8445-D8C153B85EDC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645648857"/>
      </p:ext>
    </p:extLst>
  </p:cSld>
  <p:clrMapOvr>
    <a:masterClrMapping/>
  </p:clrMapOvr>
  <p:transition>
    <p:blinds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14E1BF03-6909-1FD0-472E-7CA7D309984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AAF36E56-FA7E-967F-D67A-1DC2382368D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FD88E46C-E6C0-AE34-916F-1F215728824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3CB6686-07B1-42F1-81D4-637DD363A449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082274962"/>
      </p:ext>
    </p:extLst>
  </p:cSld>
  <p:clrMapOvr>
    <a:masterClrMapping/>
  </p:clrMapOvr>
  <p:transition>
    <p:blinds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07450B5-E96D-C6DA-58A7-C7A52CE4FF9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6270B56A-6461-B979-067A-406B1DC12C9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784F545F-99B2-298C-5689-C7FEEED5461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E24BE-15E9-4C27-A77B-1396B921A4C2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323648293"/>
      </p:ext>
    </p:extLst>
  </p:cSld>
  <p:clrMapOvr>
    <a:masterClrMapping/>
  </p:clrMapOvr>
  <p:transition>
    <p:blinds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975C55C3-F1E6-76D7-A20A-BFE77F5F123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74827F6B-5ED2-1085-E0D5-8E3D854DA88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8B465EFD-FBDB-6756-1F8D-DC15214F463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A5DD686-A722-4955-A5CE-FEC507470A95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930525125"/>
      </p:ext>
    </p:extLst>
  </p:cSld>
  <p:clrMapOvr>
    <a:masterClrMapping/>
  </p:clrMapOvr>
  <p:transition>
    <p:blinds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734D2FD-8157-5AFB-70BA-60B5F02F8F7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18A5150-0D32-9AFA-0DA2-A67E4267ED2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5F9ACC-6B4B-0A5E-9CB9-6DBAE4ACE7D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9CCDD64-AB90-4261-93A0-6A595027C0C5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572764764"/>
      </p:ext>
    </p:extLst>
  </p:cSld>
  <p:clrMapOvr>
    <a:masterClrMapping/>
  </p:clrMapOvr>
  <p:transition>
    <p:blinds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7ADDD7-0E74-5F83-8C70-381D6D40164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55E90F-FC4B-57EC-1D74-79D4AFC25F7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390F259-F34E-A7CA-7791-5F8EA622F72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FF7D810-BFF9-48E9-9151-13D2935A3FF1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706129896"/>
      </p:ext>
    </p:extLst>
  </p:cSld>
  <p:clrMapOvr>
    <a:masterClrMapping/>
  </p:clrMapOvr>
  <p:transition>
    <p:blinds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>
                <a16:creationId xmlns:a16="http://schemas.microsoft.com/office/drawing/2014/main" id="{161C5AC7-5D70-1285-E19C-DF3F8473CB2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9200" y="4191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pl-PL"/>
              <a:t>Kliknij, aby edytować styl tytułu</a:t>
            </a:r>
            <a:br>
              <a:rPr lang="pl-PL"/>
            </a:br>
            <a:r>
              <a:rPr lang="pl-PL"/>
              <a:t>z Wzorca</a:t>
            </a:r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A130C2CD-0758-B685-9CBB-CDFFB416F22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219200" y="20447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/>
              <a:t>Kliknij, aby edytować style tekstu z Wzorca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40C0A1BA-1016-0486-D49C-1CB0E1FEFEB7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22555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400">
                <a:latin typeface="Arial Narrow" pitchFamily="34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50299F49-E351-E20D-C7DF-230C04D6ECC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6395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50000"/>
              </a:spcBef>
              <a:defRPr sz="1400">
                <a:latin typeface="Arial Narrow" pitchFamily="34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078" name="Rectangle 6">
            <a:extLst>
              <a:ext uri="{FF2B5EF4-FFF2-40B4-BE49-F238E27FC236}">
                <a16:creationId xmlns:a16="http://schemas.microsoft.com/office/drawing/2014/main" id="{9B512EB2-D58F-FB63-3E74-1053BFCF1FE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295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defRPr sz="1400">
                <a:latin typeface="Arial Narrow" panose="020B0606020202030204" pitchFamily="34" charset="0"/>
              </a:defRPr>
            </a:lvl1pPr>
          </a:lstStyle>
          <a:p>
            <a:fld id="{A3F2E285-9385-4D73-9308-8C23AA0EDBAC}" type="slidenum">
              <a:rPr lang="pl-PL" altLang="pl-PL"/>
              <a:pPr/>
              <a:t>‹#›</a:t>
            </a:fld>
            <a:endParaRPr lang="pl-PL" altLang="pl-PL"/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1B4F4D2A-DE0B-A8A6-B93B-CE47FD78AC44}"/>
              </a:ext>
            </a:extLst>
          </p:cNvPr>
          <p:cNvGrpSpPr>
            <a:grpSpLocks/>
          </p:cNvGrpSpPr>
          <p:nvPr/>
        </p:nvGrpSpPr>
        <p:grpSpPr bwMode="auto">
          <a:xfrm>
            <a:off x="152400" y="314325"/>
            <a:ext cx="847725" cy="6543675"/>
            <a:chOff x="96" y="198"/>
            <a:chExt cx="534" cy="4122"/>
          </a:xfrm>
        </p:grpSpPr>
        <p:sp>
          <p:nvSpPr>
            <p:cNvPr id="3080" name="AutoShape 8">
              <a:extLst>
                <a:ext uri="{FF2B5EF4-FFF2-40B4-BE49-F238E27FC236}">
                  <a16:creationId xmlns:a16="http://schemas.microsoft.com/office/drawing/2014/main" id="{3D3D6616-DB7A-80F0-785E-36C061FE2A6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2" y="1995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81" name="AutoShape 9">
              <a:extLst>
                <a:ext uri="{FF2B5EF4-FFF2-40B4-BE49-F238E27FC236}">
                  <a16:creationId xmlns:a16="http://schemas.microsoft.com/office/drawing/2014/main" id="{BCA385B6-BC85-965F-9BBF-FD1D57C9D61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2" y="2589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82" name="AutoShape 10">
              <a:extLst>
                <a:ext uri="{FF2B5EF4-FFF2-40B4-BE49-F238E27FC236}">
                  <a16:creationId xmlns:a16="http://schemas.microsoft.com/office/drawing/2014/main" id="{A4BF1E39-6FD3-223E-95EB-4CB9A370B49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1" y="3181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83" name="AutoShape 11">
              <a:extLst>
                <a:ext uri="{FF2B5EF4-FFF2-40B4-BE49-F238E27FC236}">
                  <a16:creationId xmlns:a16="http://schemas.microsoft.com/office/drawing/2014/main" id="{FC229203-485C-801E-FBCC-67962C8DD5B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3" y="3776"/>
              <a:ext cx="558" cy="533"/>
            </a:xfrm>
            <a:prstGeom prst="parallelogram">
              <a:avLst>
                <a:gd name="adj" fmla="val 55437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84" name="AutoShape 12">
              <a:extLst>
                <a:ext uri="{FF2B5EF4-FFF2-40B4-BE49-F238E27FC236}">
                  <a16:creationId xmlns:a16="http://schemas.microsoft.com/office/drawing/2014/main" id="{E53120D4-FDD1-9B59-E97D-04EFED22DF0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2" y="213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85" name="AutoShape 13">
              <a:extLst>
                <a:ext uri="{FF2B5EF4-FFF2-40B4-BE49-F238E27FC236}">
                  <a16:creationId xmlns:a16="http://schemas.microsoft.com/office/drawing/2014/main" id="{E9A0C5FE-2462-9735-84D3-885405966B3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1" y="803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86" name="AutoShape 14">
              <a:extLst>
                <a:ext uri="{FF2B5EF4-FFF2-40B4-BE49-F238E27FC236}">
                  <a16:creationId xmlns:a16="http://schemas.microsoft.com/office/drawing/2014/main" id="{B72DEBDF-23A3-9D5D-FDC2-FA74492E24C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81" y="1399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3087" name="Rectangle 15">
            <a:extLst>
              <a:ext uri="{FF2B5EF4-FFF2-40B4-BE49-F238E27FC236}">
                <a16:creationId xmlns:a16="http://schemas.microsoft.com/office/drawing/2014/main" id="{986DDA24-59B1-B4B6-CADA-41D0C67D3D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325" y="0"/>
            <a:ext cx="276225" cy="6858000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50000">
                <a:schemeClr val="folHlink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3088" name="AutoShape 16">
            <a:extLst>
              <a:ext uri="{FF2B5EF4-FFF2-40B4-BE49-F238E27FC236}">
                <a16:creationId xmlns:a16="http://schemas.microsoft.com/office/drawing/2014/main" id="{732B7197-1184-2BA1-CC0D-A5B9FEBF6B32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47688" y="1703388"/>
            <a:ext cx="8596312" cy="254000"/>
          </a:xfrm>
          <a:prstGeom prst="homePlate">
            <a:avLst>
              <a:gd name="adj" fmla="val 58913"/>
            </a:avLst>
          </a:prstGeom>
          <a:gradFill rotWithShape="0">
            <a:gsLst>
              <a:gs pos="0">
                <a:schemeClr val="bg2"/>
              </a:gs>
              <a:gs pos="50000">
                <a:schemeClr val="folHlink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3089" name="Oval 17">
            <a:extLst>
              <a:ext uri="{FF2B5EF4-FFF2-40B4-BE49-F238E27FC236}">
                <a16:creationId xmlns:a16="http://schemas.microsoft.com/office/drawing/2014/main" id="{03851B17-C141-C11B-B0A3-0C36C09FC8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375" y="1706563"/>
            <a:ext cx="295275" cy="274637"/>
          </a:xfrm>
          <a:prstGeom prst="ellipse">
            <a:avLst/>
          </a:prstGeom>
          <a:gradFill rotWithShape="0">
            <a:gsLst>
              <a:gs pos="0">
                <a:srgbClr val="FEFFFF"/>
              </a:gs>
              <a:gs pos="100000">
                <a:schemeClr val="folHlink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3090" name="Rectangle 18">
            <a:extLst>
              <a:ext uri="{FF2B5EF4-FFF2-40B4-BE49-F238E27FC236}">
                <a16:creationId xmlns:a16="http://schemas.microsoft.com/office/drawing/2014/main" id="{5FE3E32A-BE04-F534-D7BD-EE34F78AD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50" y="1912938"/>
            <a:ext cx="190500" cy="4678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3091" name="Oval 19">
            <a:extLst>
              <a:ext uri="{FF2B5EF4-FFF2-40B4-BE49-F238E27FC236}">
                <a16:creationId xmlns:a16="http://schemas.microsoft.com/office/drawing/2014/main" id="{728163DB-A159-F5E6-8E12-A2B8BF29E2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9088" y="1676400"/>
            <a:ext cx="304800" cy="274638"/>
          </a:xfrm>
          <a:prstGeom prst="ellipse">
            <a:avLst/>
          </a:prstGeom>
          <a:gradFill rotWithShape="0">
            <a:gsLst>
              <a:gs pos="0">
                <a:srgbClr val="FEFFFF"/>
              </a:gs>
              <a:gs pos="100000">
                <a:schemeClr val="folHlink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3092" name="Rectangle 20">
            <a:extLst>
              <a:ext uri="{FF2B5EF4-FFF2-40B4-BE49-F238E27FC236}">
                <a16:creationId xmlns:a16="http://schemas.microsoft.com/office/drawing/2014/main" id="{A629CC2A-B455-7913-823E-86037B18A6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1739900"/>
            <a:ext cx="8751888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grpSp>
        <p:nvGrpSpPr>
          <p:cNvPr id="1038" name="Group 21">
            <a:extLst>
              <a:ext uri="{FF2B5EF4-FFF2-40B4-BE49-F238E27FC236}">
                <a16:creationId xmlns:a16="http://schemas.microsoft.com/office/drawing/2014/main" id="{059EE37A-6B39-1067-98E7-A83C352F17E7}"/>
              </a:ext>
            </a:extLst>
          </p:cNvPr>
          <p:cNvGrpSpPr>
            <a:grpSpLocks/>
          </p:cNvGrpSpPr>
          <p:nvPr/>
        </p:nvGrpSpPr>
        <p:grpSpPr bwMode="auto">
          <a:xfrm>
            <a:off x="150813" y="0"/>
            <a:ext cx="849312" cy="6858000"/>
            <a:chOff x="95" y="0"/>
            <a:chExt cx="535" cy="4320"/>
          </a:xfrm>
        </p:grpSpPr>
        <p:sp>
          <p:nvSpPr>
            <p:cNvPr id="3094" name="AutoShape 22">
              <a:extLst>
                <a:ext uri="{FF2B5EF4-FFF2-40B4-BE49-F238E27FC236}">
                  <a16:creationId xmlns:a16="http://schemas.microsoft.com/office/drawing/2014/main" id="{A720C898-6A21-326D-0E94-4CDE42FB211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2" y="2291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95" name="AutoShape 23">
              <a:extLst>
                <a:ext uri="{FF2B5EF4-FFF2-40B4-BE49-F238E27FC236}">
                  <a16:creationId xmlns:a16="http://schemas.microsoft.com/office/drawing/2014/main" id="{E3FD6DA5-B78B-5768-E0AB-35217513295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1" y="2886"/>
              <a:ext cx="565" cy="533"/>
            </a:xfrm>
            <a:prstGeom prst="parallelogram">
              <a:avLst>
                <a:gd name="adj" fmla="val 56133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96" name="AutoShape 24">
              <a:extLst>
                <a:ext uri="{FF2B5EF4-FFF2-40B4-BE49-F238E27FC236}">
                  <a16:creationId xmlns:a16="http://schemas.microsoft.com/office/drawing/2014/main" id="{3ED05868-02AE-06A6-8473-4C80B65BFF6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1" y="3479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97" name="AutoShape 25">
              <a:extLst>
                <a:ext uri="{FF2B5EF4-FFF2-40B4-BE49-F238E27FC236}">
                  <a16:creationId xmlns:a16="http://schemas.microsoft.com/office/drawing/2014/main" id="{1475DC1C-9223-520A-4BD4-349A337A95F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1" y="508"/>
              <a:ext cx="565" cy="533"/>
            </a:xfrm>
            <a:prstGeom prst="parallelogram">
              <a:avLst>
                <a:gd name="adj" fmla="val 56133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98" name="AutoShape 26">
              <a:extLst>
                <a:ext uri="{FF2B5EF4-FFF2-40B4-BE49-F238E27FC236}">
                  <a16:creationId xmlns:a16="http://schemas.microsoft.com/office/drawing/2014/main" id="{88E7B9D1-EAD5-CB0E-5698-4F8D0A22AE7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1" y="1101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99" name="AutoShape 27">
              <a:extLst>
                <a:ext uri="{FF2B5EF4-FFF2-40B4-BE49-F238E27FC236}">
                  <a16:creationId xmlns:a16="http://schemas.microsoft.com/office/drawing/2014/main" id="{85912492-93F3-6066-3A51-BBF13F7275F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81" y="1697"/>
              <a:ext cx="564" cy="533"/>
            </a:xfrm>
            <a:prstGeom prst="parallelogram">
              <a:avLst>
                <a:gd name="adj" fmla="val 56034"/>
              </a:avLst>
            </a:pr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100" name="Freeform 28">
              <a:extLst>
                <a:ext uri="{FF2B5EF4-FFF2-40B4-BE49-F238E27FC236}">
                  <a16:creationId xmlns:a16="http://schemas.microsoft.com/office/drawing/2014/main" id="{C5D26124-B08D-5B09-C257-C4C915CABB2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" y="0"/>
              <a:ext cx="532" cy="46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66"/>
                </a:cxn>
                <a:cxn ang="0">
                  <a:pos x="532" y="465"/>
                </a:cxn>
                <a:cxn ang="0">
                  <a:pos x="532" y="201"/>
                </a:cxn>
                <a:cxn ang="0">
                  <a:pos x="172" y="0"/>
                </a:cxn>
                <a:cxn ang="0">
                  <a:pos x="1" y="0"/>
                </a:cxn>
              </a:cxnLst>
              <a:rect l="0" t="0" r="r" b="b"/>
              <a:pathLst>
                <a:path w="532" h="465">
                  <a:moveTo>
                    <a:pt x="1" y="0"/>
                  </a:moveTo>
                  <a:lnTo>
                    <a:pt x="0" y="166"/>
                  </a:lnTo>
                  <a:lnTo>
                    <a:pt x="532" y="465"/>
                  </a:lnTo>
                  <a:lnTo>
                    <a:pt x="532" y="201"/>
                  </a:lnTo>
                  <a:lnTo>
                    <a:pt x="172" y="0"/>
                  </a:lnTo>
                  <a:lnTo>
                    <a:pt x="1" y="0"/>
                  </a:ln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 cap="flat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101" name="Freeform 29">
              <a:extLst>
                <a:ext uri="{FF2B5EF4-FFF2-40B4-BE49-F238E27FC236}">
                  <a16:creationId xmlns:a16="http://schemas.microsoft.com/office/drawing/2014/main" id="{78F80C40-1822-C5E5-4125-E7A0477D9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" y="4060"/>
              <a:ext cx="457" cy="260"/>
            </a:xfrm>
            <a:custGeom>
              <a:avLst/>
              <a:gdLst/>
              <a:ahLst/>
              <a:cxnLst>
                <a:cxn ang="0">
                  <a:pos x="457" y="260"/>
                </a:cxn>
                <a:cxn ang="0">
                  <a:pos x="1" y="0"/>
                </a:cxn>
                <a:cxn ang="0">
                  <a:pos x="0" y="264"/>
                </a:cxn>
                <a:cxn ang="0">
                  <a:pos x="457" y="260"/>
                </a:cxn>
              </a:cxnLst>
              <a:rect l="0" t="0" r="r" b="b"/>
              <a:pathLst>
                <a:path w="457" h="264">
                  <a:moveTo>
                    <a:pt x="457" y="260"/>
                  </a:moveTo>
                  <a:lnTo>
                    <a:pt x="1" y="0"/>
                  </a:lnTo>
                  <a:lnTo>
                    <a:pt x="0" y="264"/>
                  </a:lnTo>
                  <a:lnTo>
                    <a:pt x="457" y="260"/>
                  </a:ln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9525" cap="flat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88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90" r:id="rId12"/>
  </p:sldLayoutIdLst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3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0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0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89" grpId="0" animBg="1"/>
      <p:bldP spid="3091" grpId="0" animBg="1"/>
    </p:bldLst>
  </p:timing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1" sz="4400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1" sz="4400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Impact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1" sz="4400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Impact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1" sz="4400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Impact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1" sz="4400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Impact" pitchFamily="34" charset="0"/>
        </a:defRPr>
      </a:lvl5pPr>
      <a:lvl6pPr marL="4572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1" sz="4400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Impact" pitchFamily="34" charset="0"/>
        </a:defRPr>
      </a:lvl6pPr>
      <a:lvl7pPr marL="9144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1" sz="4400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Impact" pitchFamily="34" charset="0"/>
        </a:defRPr>
      </a:lvl7pPr>
      <a:lvl8pPr marL="13716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1" sz="4400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Impact" pitchFamily="34" charset="0"/>
        </a:defRPr>
      </a:lvl8pPr>
      <a:lvl9pPr marL="18288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1" sz="4400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Impac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Monotype Sorts" pitchFamily="2" charset="2"/>
        <a:buChar char="b"/>
        <a:defRPr kumimoji="1"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8.jpeg"/><Relationship Id="rId12" Type="http://schemas.openxmlformats.org/officeDocument/2006/relationships/image" Target="../media/image4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7.emf"/><Relationship Id="rId11" Type="http://schemas.openxmlformats.org/officeDocument/2006/relationships/image" Target="../media/image42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41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0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6.png"/><Relationship Id="rId7" Type="http://schemas.openxmlformats.org/officeDocument/2006/relationships/image" Target="../media/image49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jpeg"/><Relationship Id="rId5" Type="http://schemas.openxmlformats.org/officeDocument/2006/relationships/image" Target="../media/image47.png"/><Relationship Id="rId4" Type="http://schemas.openxmlformats.org/officeDocument/2006/relationships/image" Target="../media/image35.png"/><Relationship Id="rId9" Type="http://schemas.openxmlformats.org/officeDocument/2006/relationships/image" Target="../media/image51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4.png"/><Relationship Id="rId10" Type="http://schemas.microsoft.com/office/2007/relationships/hdphoto" Target="../media/hdphoto3.wdp"/><Relationship Id="rId4" Type="http://schemas.microsoft.com/office/2007/relationships/hdphoto" Target="../media/hdphoto1.wdp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microsoft.com/office/2007/relationships/hdphoto" Target="../media/hdphoto7.wdp"/><Relationship Id="rId18" Type="http://schemas.microsoft.com/office/2007/relationships/hdphoto" Target="../media/hdphoto9.wdp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12" Type="http://schemas.openxmlformats.org/officeDocument/2006/relationships/image" Target="../media/image17.png"/><Relationship Id="rId17" Type="http://schemas.openxmlformats.org/officeDocument/2006/relationships/image" Target="../media/image20.png"/><Relationship Id="rId2" Type="http://schemas.openxmlformats.org/officeDocument/2006/relationships/image" Target="../media/image2.png"/><Relationship Id="rId16" Type="http://schemas.microsoft.com/office/2007/relationships/hdphoto" Target="../media/hdphoto8.wdp"/><Relationship Id="rId1" Type="http://schemas.openxmlformats.org/officeDocument/2006/relationships/slideLayout" Target="../slideLayouts/slideLayout2.xml"/><Relationship Id="rId6" Type="http://schemas.microsoft.com/office/2007/relationships/hdphoto" Target="../media/hdphoto4.wdp"/><Relationship Id="rId11" Type="http://schemas.microsoft.com/office/2007/relationships/hdphoto" Target="../media/hdphoto6.wdp"/><Relationship Id="rId5" Type="http://schemas.openxmlformats.org/officeDocument/2006/relationships/image" Target="../media/image13.png"/><Relationship Id="rId15" Type="http://schemas.openxmlformats.org/officeDocument/2006/relationships/image" Target="../media/image19.png"/><Relationship Id="rId10" Type="http://schemas.openxmlformats.org/officeDocument/2006/relationships/image" Target="../media/image16.png"/><Relationship Id="rId4" Type="http://schemas.openxmlformats.org/officeDocument/2006/relationships/image" Target="../media/image12.png"/><Relationship Id="rId9" Type="http://schemas.microsoft.com/office/2007/relationships/hdphoto" Target="../media/hdphoto5.wdp"/><Relationship Id="rId1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12.png"/><Relationship Id="rId7" Type="http://schemas.openxmlformats.org/officeDocument/2006/relationships/image" Target="../media/image2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>
            <a:extLst>
              <a:ext uri="{FF2B5EF4-FFF2-40B4-BE49-F238E27FC236}">
                <a16:creationId xmlns:a16="http://schemas.microsoft.com/office/drawing/2014/main" id="{723EE0EA-584D-8E35-DB3A-9FD247DC57CA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093655" y="3429000"/>
            <a:ext cx="7924510" cy="1804988"/>
          </a:xfrm>
        </p:spPr>
        <p:txBody>
          <a:bodyPr/>
          <a:lstStyle/>
          <a:p>
            <a:pPr>
              <a:defRPr/>
            </a:pPr>
            <a:r>
              <a:rPr lang="pl-PL" sz="4000" dirty="0">
                <a:solidFill>
                  <a:srgbClr val="FF0000"/>
                </a:solidFill>
              </a:rPr>
              <a:t>Współczesne i przyszłe </a:t>
            </a:r>
            <a:br>
              <a:rPr lang="pl-PL" sz="4000" dirty="0">
                <a:solidFill>
                  <a:srgbClr val="FF0000"/>
                </a:solidFill>
              </a:rPr>
            </a:br>
            <a:r>
              <a:rPr lang="pl-PL" sz="4000" dirty="0">
                <a:solidFill>
                  <a:srgbClr val="FF0000"/>
                </a:solidFill>
              </a:rPr>
              <a:t>wyzwania globalnej ekonomii </a:t>
            </a:r>
            <a:br>
              <a:rPr lang="pl-PL" sz="4000" dirty="0">
                <a:solidFill>
                  <a:srgbClr val="FF0000"/>
                </a:solidFill>
              </a:rPr>
            </a:br>
            <a:r>
              <a:rPr lang="pl-PL" sz="4000" dirty="0">
                <a:solidFill>
                  <a:srgbClr val="FF0000"/>
                </a:solidFill>
              </a:rPr>
              <a:t>ważne dla konstruowania </a:t>
            </a:r>
            <a:br>
              <a:rPr lang="pl-PL" sz="4000" dirty="0">
                <a:solidFill>
                  <a:srgbClr val="FF0000"/>
                </a:solidFill>
              </a:rPr>
            </a:br>
            <a:r>
              <a:rPr lang="pl-PL" sz="4000" dirty="0">
                <a:solidFill>
                  <a:srgbClr val="FF0000"/>
                </a:solidFill>
              </a:rPr>
              <a:t>łańcuchów dostaw</a:t>
            </a:r>
            <a:r>
              <a:rPr lang="en-US" sz="4000" dirty="0"/>
              <a:t> </a:t>
            </a:r>
            <a:br>
              <a:rPr lang="en-US" sz="4000" dirty="0"/>
            </a:br>
            <a:br>
              <a:rPr lang="pl-PL" sz="4000" dirty="0"/>
            </a:br>
            <a:br>
              <a:rPr lang="pl-PL" sz="4000" dirty="0"/>
            </a:br>
            <a:r>
              <a:rPr lang="en-US" sz="2400" dirty="0"/>
              <a:t>Witold </a:t>
            </a:r>
            <a:r>
              <a:rPr lang="pl-PL" sz="2400" dirty="0"/>
              <a:t>M.</a:t>
            </a:r>
            <a:r>
              <a:rPr lang="en-US" sz="2400" dirty="0"/>
              <a:t>Orłowski</a:t>
            </a:r>
            <a:br>
              <a:rPr lang="pl-PL" sz="2000" dirty="0"/>
            </a:br>
            <a:br>
              <a:rPr lang="pl-PL" sz="2000" dirty="0"/>
            </a:br>
            <a:br>
              <a:rPr lang="en-US" sz="2000" dirty="0"/>
            </a:br>
            <a:r>
              <a:rPr lang="en-US" sz="4000" dirty="0"/>
              <a:t> </a:t>
            </a:r>
            <a:br>
              <a:rPr lang="en-US" sz="4000" dirty="0"/>
            </a:b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290FACE-06AE-7BFA-AA13-4136D85EF4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8621" y="5654180"/>
            <a:ext cx="1492585" cy="1034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>
    <p:blinds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CAB3B-1DEE-95CC-0754-9F602A078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FF0000"/>
                </a:solidFill>
              </a:rPr>
              <a:t>Stan polskiej gospodarki</a:t>
            </a:r>
          </a:p>
        </p:txBody>
      </p:sp>
      <p:sp>
        <p:nvSpPr>
          <p:cNvPr id="4" name="Rectangle 50">
            <a:extLst>
              <a:ext uri="{FF2B5EF4-FFF2-40B4-BE49-F238E27FC236}">
                <a16:creationId xmlns:a16="http://schemas.microsoft.com/office/drawing/2014/main" id="{B904CCF5-8A53-D8B1-A09A-43669FA6E2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7049" y="3559171"/>
            <a:ext cx="6681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5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Calibri" panose="020F0502020204030204" pitchFamily="34" charset="0"/>
              </a:rPr>
              <a:t>Spożycie</a:t>
            </a:r>
            <a:endParaRPr kumimoji="0" lang="pl-PL" altLang="pl-PL" sz="18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</a:endParaRPr>
          </a:p>
        </p:txBody>
      </p:sp>
      <p:sp>
        <p:nvSpPr>
          <p:cNvPr id="5" name="Rectangle 52">
            <a:extLst>
              <a:ext uri="{FF2B5EF4-FFF2-40B4-BE49-F238E27FC236}">
                <a16:creationId xmlns:a16="http://schemas.microsoft.com/office/drawing/2014/main" id="{2395AB24-C577-D60E-29ED-4659958E1C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9350" y="3328339"/>
            <a:ext cx="82593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5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Inwestycje</a:t>
            </a:r>
            <a:endParaRPr kumimoji="0" lang="pl-PL" altLang="pl-PL" sz="18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</a:endParaRPr>
          </a:p>
        </p:txBody>
      </p:sp>
      <p:sp>
        <p:nvSpPr>
          <p:cNvPr id="6" name="Rectangle 54">
            <a:extLst>
              <a:ext uri="{FF2B5EF4-FFF2-40B4-BE49-F238E27FC236}">
                <a16:creationId xmlns:a16="http://schemas.microsoft.com/office/drawing/2014/main" id="{6C4B1583-72A4-E505-6C7F-1535101B4F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4" y="3142950"/>
            <a:ext cx="31579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5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KB</a:t>
            </a:r>
            <a:endParaRPr kumimoji="0" lang="pl-PL" altLang="pl-PL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0C2664C2-9021-4ADF-1860-B3D83C4662F3}"/>
              </a:ext>
            </a:extLst>
          </p:cNvPr>
          <p:cNvSpPr>
            <a:spLocks noEditPoints="1"/>
          </p:cNvSpPr>
          <p:nvPr/>
        </p:nvSpPr>
        <p:spPr bwMode="auto">
          <a:xfrm>
            <a:off x="1463675" y="2121396"/>
            <a:ext cx="6689725" cy="3402013"/>
          </a:xfrm>
          <a:custGeom>
            <a:avLst/>
            <a:gdLst>
              <a:gd name="T0" fmla="*/ 0 w 4214"/>
              <a:gd name="T1" fmla="*/ 2143 h 2143"/>
              <a:gd name="T2" fmla="*/ 4214 w 4214"/>
              <a:gd name="T3" fmla="*/ 2143 h 2143"/>
              <a:gd name="T4" fmla="*/ 0 w 4214"/>
              <a:gd name="T5" fmla="*/ 1715 h 2143"/>
              <a:gd name="T6" fmla="*/ 4214 w 4214"/>
              <a:gd name="T7" fmla="*/ 1715 h 2143"/>
              <a:gd name="T8" fmla="*/ 0 w 4214"/>
              <a:gd name="T9" fmla="*/ 856 h 2143"/>
              <a:gd name="T10" fmla="*/ 4214 w 4214"/>
              <a:gd name="T11" fmla="*/ 856 h 2143"/>
              <a:gd name="T12" fmla="*/ 0 w 4214"/>
              <a:gd name="T13" fmla="*/ 428 h 2143"/>
              <a:gd name="T14" fmla="*/ 4214 w 4214"/>
              <a:gd name="T15" fmla="*/ 428 h 2143"/>
              <a:gd name="T16" fmla="*/ 0 w 4214"/>
              <a:gd name="T17" fmla="*/ 0 h 2143"/>
              <a:gd name="T18" fmla="*/ 4214 w 4214"/>
              <a:gd name="T19" fmla="*/ 0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14" h="2143">
                <a:moveTo>
                  <a:pt x="0" y="2143"/>
                </a:moveTo>
                <a:lnTo>
                  <a:pt x="4214" y="2143"/>
                </a:lnTo>
                <a:moveTo>
                  <a:pt x="0" y="1715"/>
                </a:moveTo>
                <a:lnTo>
                  <a:pt x="4214" y="1715"/>
                </a:lnTo>
                <a:moveTo>
                  <a:pt x="0" y="856"/>
                </a:moveTo>
                <a:lnTo>
                  <a:pt x="4214" y="856"/>
                </a:lnTo>
                <a:moveTo>
                  <a:pt x="0" y="428"/>
                </a:moveTo>
                <a:lnTo>
                  <a:pt x="4214" y="428"/>
                </a:lnTo>
                <a:moveTo>
                  <a:pt x="0" y="0"/>
                </a:moveTo>
                <a:lnTo>
                  <a:pt x="4214" y="0"/>
                </a:lnTo>
              </a:path>
            </a:pathLst>
          </a:custGeom>
          <a:noFill/>
          <a:ln w="15875" cap="flat">
            <a:solidFill>
              <a:srgbClr val="D9D9D9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711FA1A7-055A-1EDF-EA77-B445339A4C73}"/>
              </a:ext>
            </a:extLst>
          </p:cNvPr>
          <p:cNvSpPr>
            <a:spLocks noEditPoints="1"/>
          </p:cNvSpPr>
          <p:nvPr/>
        </p:nvSpPr>
        <p:spPr bwMode="auto">
          <a:xfrm>
            <a:off x="1550987" y="3019921"/>
            <a:ext cx="6515100" cy="1347788"/>
          </a:xfrm>
          <a:custGeom>
            <a:avLst/>
            <a:gdLst>
              <a:gd name="T0" fmla="*/ 192 w 4104"/>
              <a:gd name="T1" fmla="*/ 669 h 849"/>
              <a:gd name="T2" fmla="*/ 0 w 4104"/>
              <a:gd name="T3" fmla="*/ 720 h 849"/>
              <a:gd name="T4" fmla="*/ 301 w 4104"/>
              <a:gd name="T5" fmla="*/ 0 h 849"/>
              <a:gd name="T6" fmla="*/ 493 w 4104"/>
              <a:gd name="T7" fmla="*/ 720 h 849"/>
              <a:gd name="T8" fmla="*/ 301 w 4104"/>
              <a:gd name="T9" fmla="*/ 0 h 849"/>
              <a:gd name="T10" fmla="*/ 792 w 4104"/>
              <a:gd name="T11" fmla="*/ 419 h 849"/>
              <a:gd name="T12" fmla="*/ 603 w 4104"/>
              <a:gd name="T13" fmla="*/ 720 h 849"/>
              <a:gd name="T14" fmla="*/ 904 w 4104"/>
              <a:gd name="T15" fmla="*/ 275 h 849"/>
              <a:gd name="T16" fmla="*/ 1094 w 4104"/>
              <a:gd name="T17" fmla="*/ 720 h 849"/>
              <a:gd name="T18" fmla="*/ 904 w 4104"/>
              <a:gd name="T19" fmla="*/ 275 h 849"/>
              <a:gd name="T20" fmla="*/ 1395 w 4104"/>
              <a:gd name="T21" fmla="*/ 214 h 849"/>
              <a:gd name="T22" fmla="*/ 1205 w 4104"/>
              <a:gd name="T23" fmla="*/ 720 h 849"/>
              <a:gd name="T24" fmla="*/ 1506 w 4104"/>
              <a:gd name="T25" fmla="*/ 248 h 849"/>
              <a:gd name="T26" fmla="*/ 1696 w 4104"/>
              <a:gd name="T27" fmla="*/ 720 h 849"/>
              <a:gd name="T28" fmla="*/ 1506 w 4104"/>
              <a:gd name="T29" fmla="*/ 248 h 849"/>
              <a:gd name="T30" fmla="*/ 1997 w 4104"/>
              <a:gd name="T31" fmla="*/ 531 h 849"/>
              <a:gd name="T32" fmla="*/ 1806 w 4104"/>
              <a:gd name="T33" fmla="*/ 720 h 849"/>
              <a:gd name="T34" fmla="*/ 2107 w 4104"/>
              <a:gd name="T35" fmla="*/ 780 h 849"/>
              <a:gd name="T36" fmla="*/ 2298 w 4104"/>
              <a:gd name="T37" fmla="*/ 720 h 849"/>
              <a:gd name="T38" fmla="*/ 2107 w 4104"/>
              <a:gd name="T39" fmla="*/ 780 h 849"/>
              <a:gd name="T40" fmla="*/ 2598 w 4104"/>
              <a:gd name="T41" fmla="*/ 832 h 849"/>
              <a:gd name="T42" fmla="*/ 2408 w 4104"/>
              <a:gd name="T43" fmla="*/ 720 h 849"/>
              <a:gd name="T44" fmla="*/ 2709 w 4104"/>
              <a:gd name="T45" fmla="*/ 849 h 849"/>
              <a:gd name="T46" fmla="*/ 2899 w 4104"/>
              <a:gd name="T47" fmla="*/ 720 h 849"/>
              <a:gd name="T48" fmla="*/ 2709 w 4104"/>
              <a:gd name="T49" fmla="*/ 849 h 849"/>
              <a:gd name="T50" fmla="*/ 3200 w 4104"/>
              <a:gd name="T51" fmla="*/ 642 h 849"/>
              <a:gd name="T52" fmla="*/ 3010 w 4104"/>
              <a:gd name="T53" fmla="*/ 720 h 849"/>
              <a:gd name="T54" fmla="*/ 3312 w 4104"/>
              <a:gd name="T55" fmla="*/ 600 h 849"/>
              <a:gd name="T56" fmla="*/ 3501 w 4104"/>
              <a:gd name="T57" fmla="*/ 720 h 849"/>
              <a:gd name="T58" fmla="*/ 3312 w 4104"/>
              <a:gd name="T59" fmla="*/ 600 h 849"/>
              <a:gd name="T60" fmla="*/ 3803 w 4104"/>
              <a:gd name="T61" fmla="*/ 325 h 849"/>
              <a:gd name="T62" fmla="*/ 3611 w 4104"/>
              <a:gd name="T63" fmla="*/ 720 h 849"/>
              <a:gd name="T64" fmla="*/ 3912 w 4104"/>
              <a:gd name="T65" fmla="*/ 317 h 849"/>
              <a:gd name="T66" fmla="*/ 4104 w 4104"/>
              <a:gd name="T67" fmla="*/ 720 h 849"/>
              <a:gd name="T68" fmla="*/ 3912 w 4104"/>
              <a:gd name="T69" fmla="*/ 317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04" h="849">
                <a:moveTo>
                  <a:pt x="0" y="669"/>
                </a:moveTo>
                <a:lnTo>
                  <a:pt x="192" y="669"/>
                </a:lnTo>
                <a:lnTo>
                  <a:pt x="192" y="720"/>
                </a:lnTo>
                <a:lnTo>
                  <a:pt x="0" y="720"/>
                </a:lnTo>
                <a:lnTo>
                  <a:pt x="0" y="669"/>
                </a:lnTo>
                <a:close/>
                <a:moveTo>
                  <a:pt x="301" y="0"/>
                </a:moveTo>
                <a:lnTo>
                  <a:pt x="493" y="0"/>
                </a:lnTo>
                <a:lnTo>
                  <a:pt x="493" y="720"/>
                </a:lnTo>
                <a:lnTo>
                  <a:pt x="301" y="720"/>
                </a:lnTo>
                <a:lnTo>
                  <a:pt x="301" y="0"/>
                </a:lnTo>
                <a:close/>
                <a:moveTo>
                  <a:pt x="603" y="419"/>
                </a:moveTo>
                <a:lnTo>
                  <a:pt x="792" y="419"/>
                </a:lnTo>
                <a:lnTo>
                  <a:pt x="792" y="720"/>
                </a:lnTo>
                <a:lnTo>
                  <a:pt x="603" y="720"/>
                </a:lnTo>
                <a:lnTo>
                  <a:pt x="603" y="419"/>
                </a:lnTo>
                <a:close/>
                <a:moveTo>
                  <a:pt x="904" y="275"/>
                </a:moveTo>
                <a:lnTo>
                  <a:pt x="1094" y="275"/>
                </a:lnTo>
                <a:lnTo>
                  <a:pt x="1094" y="720"/>
                </a:lnTo>
                <a:lnTo>
                  <a:pt x="904" y="720"/>
                </a:lnTo>
                <a:lnTo>
                  <a:pt x="904" y="275"/>
                </a:lnTo>
                <a:close/>
                <a:moveTo>
                  <a:pt x="1205" y="214"/>
                </a:moveTo>
                <a:lnTo>
                  <a:pt x="1395" y="214"/>
                </a:lnTo>
                <a:lnTo>
                  <a:pt x="1395" y="720"/>
                </a:lnTo>
                <a:lnTo>
                  <a:pt x="1205" y="720"/>
                </a:lnTo>
                <a:lnTo>
                  <a:pt x="1205" y="214"/>
                </a:lnTo>
                <a:close/>
                <a:moveTo>
                  <a:pt x="1506" y="248"/>
                </a:moveTo>
                <a:lnTo>
                  <a:pt x="1696" y="248"/>
                </a:lnTo>
                <a:lnTo>
                  <a:pt x="1696" y="720"/>
                </a:lnTo>
                <a:lnTo>
                  <a:pt x="1506" y="720"/>
                </a:lnTo>
                <a:lnTo>
                  <a:pt x="1506" y="248"/>
                </a:lnTo>
                <a:close/>
                <a:moveTo>
                  <a:pt x="1806" y="531"/>
                </a:moveTo>
                <a:lnTo>
                  <a:pt x="1997" y="531"/>
                </a:lnTo>
                <a:lnTo>
                  <a:pt x="1997" y="720"/>
                </a:lnTo>
                <a:lnTo>
                  <a:pt x="1806" y="720"/>
                </a:lnTo>
                <a:lnTo>
                  <a:pt x="1806" y="531"/>
                </a:lnTo>
                <a:close/>
                <a:moveTo>
                  <a:pt x="2107" y="780"/>
                </a:moveTo>
                <a:lnTo>
                  <a:pt x="2298" y="780"/>
                </a:lnTo>
                <a:lnTo>
                  <a:pt x="2298" y="720"/>
                </a:lnTo>
                <a:lnTo>
                  <a:pt x="2107" y="720"/>
                </a:lnTo>
                <a:lnTo>
                  <a:pt x="2107" y="780"/>
                </a:lnTo>
                <a:close/>
                <a:moveTo>
                  <a:pt x="2408" y="832"/>
                </a:moveTo>
                <a:lnTo>
                  <a:pt x="2598" y="832"/>
                </a:lnTo>
                <a:lnTo>
                  <a:pt x="2598" y="720"/>
                </a:lnTo>
                <a:lnTo>
                  <a:pt x="2408" y="720"/>
                </a:lnTo>
                <a:lnTo>
                  <a:pt x="2408" y="832"/>
                </a:lnTo>
                <a:close/>
                <a:moveTo>
                  <a:pt x="2709" y="849"/>
                </a:moveTo>
                <a:lnTo>
                  <a:pt x="2899" y="849"/>
                </a:lnTo>
                <a:lnTo>
                  <a:pt x="2899" y="720"/>
                </a:lnTo>
                <a:lnTo>
                  <a:pt x="2709" y="720"/>
                </a:lnTo>
                <a:lnTo>
                  <a:pt x="2709" y="849"/>
                </a:lnTo>
                <a:close/>
                <a:moveTo>
                  <a:pt x="3010" y="642"/>
                </a:moveTo>
                <a:lnTo>
                  <a:pt x="3200" y="642"/>
                </a:lnTo>
                <a:lnTo>
                  <a:pt x="3200" y="720"/>
                </a:lnTo>
                <a:lnTo>
                  <a:pt x="3010" y="720"/>
                </a:lnTo>
                <a:lnTo>
                  <a:pt x="3010" y="642"/>
                </a:lnTo>
                <a:close/>
                <a:moveTo>
                  <a:pt x="3312" y="600"/>
                </a:moveTo>
                <a:lnTo>
                  <a:pt x="3501" y="600"/>
                </a:lnTo>
                <a:lnTo>
                  <a:pt x="3501" y="720"/>
                </a:lnTo>
                <a:lnTo>
                  <a:pt x="3312" y="720"/>
                </a:lnTo>
                <a:lnTo>
                  <a:pt x="3312" y="600"/>
                </a:lnTo>
                <a:close/>
                <a:moveTo>
                  <a:pt x="3611" y="325"/>
                </a:moveTo>
                <a:lnTo>
                  <a:pt x="3803" y="325"/>
                </a:lnTo>
                <a:lnTo>
                  <a:pt x="3803" y="720"/>
                </a:lnTo>
                <a:lnTo>
                  <a:pt x="3611" y="720"/>
                </a:lnTo>
                <a:lnTo>
                  <a:pt x="3611" y="325"/>
                </a:lnTo>
                <a:close/>
                <a:moveTo>
                  <a:pt x="3912" y="317"/>
                </a:moveTo>
                <a:lnTo>
                  <a:pt x="4104" y="317"/>
                </a:lnTo>
                <a:lnTo>
                  <a:pt x="4104" y="720"/>
                </a:lnTo>
                <a:lnTo>
                  <a:pt x="3912" y="720"/>
                </a:lnTo>
                <a:lnTo>
                  <a:pt x="3912" y="317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FB743D5C-B5CA-BD35-4396-D9F01E65E524}"/>
              </a:ext>
            </a:extLst>
          </p:cNvPr>
          <p:cNvSpPr>
            <a:spLocks noEditPoints="1"/>
          </p:cNvSpPr>
          <p:nvPr/>
        </p:nvSpPr>
        <p:spPr bwMode="auto">
          <a:xfrm>
            <a:off x="1550987" y="2992933"/>
            <a:ext cx="6515100" cy="1277938"/>
          </a:xfrm>
          <a:custGeom>
            <a:avLst/>
            <a:gdLst>
              <a:gd name="T0" fmla="*/ 192 w 4104"/>
              <a:gd name="T1" fmla="*/ 805 h 805"/>
              <a:gd name="T2" fmla="*/ 0 w 4104"/>
              <a:gd name="T3" fmla="*/ 737 h 805"/>
              <a:gd name="T4" fmla="*/ 301 w 4104"/>
              <a:gd name="T5" fmla="*/ 0 h 805"/>
              <a:gd name="T6" fmla="*/ 493 w 4104"/>
              <a:gd name="T7" fmla="*/ 17 h 805"/>
              <a:gd name="T8" fmla="*/ 301 w 4104"/>
              <a:gd name="T9" fmla="*/ 0 h 805"/>
              <a:gd name="T10" fmla="*/ 792 w 4104"/>
              <a:gd name="T11" fmla="*/ 386 h 805"/>
              <a:gd name="T12" fmla="*/ 603 w 4104"/>
              <a:gd name="T13" fmla="*/ 436 h 805"/>
              <a:gd name="T14" fmla="*/ 904 w 4104"/>
              <a:gd name="T15" fmla="*/ 231 h 805"/>
              <a:gd name="T16" fmla="*/ 1094 w 4104"/>
              <a:gd name="T17" fmla="*/ 292 h 805"/>
              <a:gd name="T18" fmla="*/ 904 w 4104"/>
              <a:gd name="T19" fmla="*/ 231 h 805"/>
              <a:gd name="T20" fmla="*/ 1395 w 4104"/>
              <a:gd name="T21" fmla="*/ 171 h 805"/>
              <a:gd name="T22" fmla="*/ 1205 w 4104"/>
              <a:gd name="T23" fmla="*/ 231 h 805"/>
              <a:gd name="T24" fmla="*/ 1506 w 4104"/>
              <a:gd name="T25" fmla="*/ 179 h 805"/>
              <a:gd name="T26" fmla="*/ 1696 w 4104"/>
              <a:gd name="T27" fmla="*/ 265 h 805"/>
              <a:gd name="T28" fmla="*/ 1506 w 4104"/>
              <a:gd name="T29" fmla="*/ 179 h 805"/>
              <a:gd name="T30" fmla="*/ 1997 w 4104"/>
              <a:gd name="T31" fmla="*/ 515 h 805"/>
              <a:gd name="T32" fmla="*/ 1806 w 4104"/>
              <a:gd name="T33" fmla="*/ 548 h 805"/>
              <a:gd name="T34" fmla="*/ 2107 w 4104"/>
              <a:gd name="T35" fmla="*/ 634 h 805"/>
              <a:gd name="T36" fmla="*/ 2298 w 4104"/>
              <a:gd name="T37" fmla="*/ 737 h 805"/>
              <a:gd name="T38" fmla="*/ 2107 w 4104"/>
              <a:gd name="T39" fmla="*/ 634 h 805"/>
              <a:gd name="T40" fmla="*/ 2598 w 4104"/>
              <a:gd name="T41" fmla="*/ 668 h 805"/>
              <a:gd name="T42" fmla="*/ 2408 w 4104"/>
              <a:gd name="T43" fmla="*/ 737 h 805"/>
              <a:gd name="T44" fmla="*/ 2709 w 4104"/>
              <a:gd name="T45" fmla="*/ 540 h 805"/>
              <a:gd name="T46" fmla="*/ 2899 w 4104"/>
              <a:gd name="T47" fmla="*/ 737 h 805"/>
              <a:gd name="T48" fmla="*/ 2709 w 4104"/>
              <a:gd name="T49" fmla="*/ 540 h 805"/>
              <a:gd name="T50" fmla="*/ 3200 w 4104"/>
              <a:gd name="T51" fmla="*/ 505 h 805"/>
              <a:gd name="T52" fmla="*/ 3010 w 4104"/>
              <a:gd name="T53" fmla="*/ 659 h 805"/>
              <a:gd name="T54" fmla="*/ 3312 w 4104"/>
              <a:gd name="T55" fmla="*/ 307 h 805"/>
              <a:gd name="T56" fmla="*/ 3501 w 4104"/>
              <a:gd name="T57" fmla="*/ 617 h 805"/>
              <a:gd name="T58" fmla="*/ 3312 w 4104"/>
              <a:gd name="T59" fmla="*/ 307 h 805"/>
              <a:gd name="T60" fmla="*/ 3803 w 4104"/>
              <a:gd name="T61" fmla="*/ 755 h 805"/>
              <a:gd name="T62" fmla="*/ 3611 w 4104"/>
              <a:gd name="T63" fmla="*/ 737 h 805"/>
              <a:gd name="T64" fmla="*/ 3912 w 4104"/>
              <a:gd name="T65" fmla="*/ 300 h 805"/>
              <a:gd name="T66" fmla="*/ 4104 w 4104"/>
              <a:gd name="T67" fmla="*/ 334 h 805"/>
              <a:gd name="T68" fmla="*/ 3912 w 4104"/>
              <a:gd name="T69" fmla="*/ 300 h 8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04" h="805">
                <a:moveTo>
                  <a:pt x="0" y="805"/>
                </a:moveTo>
                <a:lnTo>
                  <a:pt x="192" y="805"/>
                </a:lnTo>
                <a:lnTo>
                  <a:pt x="192" y="737"/>
                </a:lnTo>
                <a:lnTo>
                  <a:pt x="0" y="737"/>
                </a:lnTo>
                <a:lnTo>
                  <a:pt x="0" y="805"/>
                </a:lnTo>
                <a:close/>
                <a:moveTo>
                  <a:pt x="301" y="0"/>
                </a:moveTo>
                <a:lnTo>
                  <a:pt x="493" y="0"/>
                </a:lnTo>
                <a:lnTo>
                  <a:pt x="493" y="17"/>
                </a:lnTo>
                <a:lnTo>
                  <a:pt x="301" y="17"/>
                </a:lnTo>
                <a:lnTo>
                  <a:pt x="301" y="0"/>
                </a:lnTo>
                <a:close/>
                <a:moveTo>
                  <a:pt x="603" y="386"/>
                </a:moveTo>
                <a:lnTo>
                  <a:pt x="792" y="386"/>
                </a:lnTo>
                <a:lnTo>
                  <a:pt x="792" y="436"/>
                </a:lnTo>
                <a:lnTo>
                  <a:pt x="603" y="436"/>
                </a:lnTo>
                <a:lnTo>
                  <a:pt x="603" y="386"/>
                </a:lnTo>
                <a:close/>
                <a:moveTo>
                  <a:pt x="904" y="231"/>
                </a:moveTo>
                <a:lnTo>
                  <a:pt x="1094" y="231"/>
                </a:lnTo>
                <a:lnTo>
                  <a:pt x="1094" y="292"/>
                </a:lnTo>
                <a:lnTo>
                  <a:pt x="904" y="292"/>
                </a:lnTo>
                <a:lnTo>
                  <a:pt x="904" y="231"/>
                </a:lnTo>
                <a:close/>
                <a:moveTo>
                  <a:pt x="1205" y="171"/>
                </a:moveTo>
                <a:lnTo>
                  <a:pt x="1395" y="171"/>
                </a:lnTo>
                <a:lnTo>
                  <a:pt x="1395" y="231"/>
                </a:lnTo>
                <a:lnTo>
                  <a:pt x="1205" y="231"/>
                </a:lnTo>
                <a:lnTo>
                  <a:pt x="1205" y="171"/>
                </a:lnTo>
                <a:close/>
                <a:moveTo>
                  <a:pt x="1506" y="179"/>
                </a:moveTo>
                <a:lnTo>
                  <a:pt x="1696" y="179"/>
                </a:lnTo>
                <a:lnTo>
                  <a:pt x="1696" y="265"/>
                </a:lnTo>
                <a:lnTo>
                  <a:pt x="1506" y="265"/>
                </a:lnTo>
                <a:lnTo>
                  <a:pt x="1506" y="179"/>
                </a:lnTo>
                <a:close/>
                <a:moveTo>
                  <a:pt x="1806" y="515"/>
                </a:moveTo>
                <a:lnTo>
                  <a:pt x="1997" y="515"/>
                </a:lnTo>
                <a:lnTo>
                  <a:pt x="1997" y="548"/>
                </a:lnTo>
                <a:lnTo>
                  <a:pt x="1806" y="548"/>
                </a:lnTo>
                <a:lnTo>
                  <a:pt x="1806" y="515"/>
                </a:lnTo>
                <a:close/>
                <a:moveTo>
                  <a:pt x="2107" y="634"/>
                </a:moveTo>
                <a:lnTo>
                  <a:pt x="2298" y="634"/>
                </a:lnTo>
                <a:lnTo>
                  <a:pt x="2298" y="737"/>
                </a:lnTo>
                <a:lnTo>
                  <a:pt x="2107" y="737"/>
                </a:lnTo>
                <a:lnTo>
                  <a:pt x="2107" y="634"/>
                </a:lnTo>
                <a:close/>
                <a:moveTo>
                  <a:pt x="2408" y="668"/>
                </a:moveTo>
                <a:lnTo>
                  <a:pt x="2598" y="668"/>
                </a:lnTo>
                <a:lnTo>
                  <a:pt x="2598" y="737"/>
                </a:lnTo>
                <a:lnTo>
                  <a:pt x="2408" y="737"/>
                </a:lnTo>
                <a:lnTo>
                  <a:pt x="2408" y="668"/>
                </a:lnTo>
                <a:close/>
                <a:moveTo>
                  <a:pt x="2709" y="540"/>
                </a:moveTo>
                <a:lnTo>
                  <a:pt x="2899" y="540"/>
                </a:lnTo>
                <a:lnTo>
                  <a:pt x="2899" y="737"/>
                </a:lnTo>
                <a:lnTo>
                  <a:pt x="2709" y="737"/>
                </a:lnTo>
                <a:lnTo>
                  <a:pt x="2709" y="540"/>
                </a:lnTo>
                <a:close/>
                <a:moveTo>
                  <a:pt x="3010" y="505"/>
                </a:moveTo>
                <a:lnTo>
                  <a:pt x="3200" y="505"/>
                </a:lnTo>
                <a:lnTo>
                  <a:pt x="3200" y="659"/>
                </a:lnTo>
                <a:lnTo>
                  <a:pt x="3010" y="659"/>
                </a:lnTo>
                <a:lnTo>
                  <a:pt x="3010" y="505"/>
                </a:lnTo>
                <a:close/>
                <a:moveTo>
                  <a:pt x="3312" y="307"/>
                </a:moveTo>
                <a:lnTo>
                  <a:pt x="3501" y="307"/>
                </a:lnTo>
                <a:lnTo>
                  <a:pt x="3501" y="617"/>
                </a:lnTo>
                <a:lnTo>
                  <a:pt x="3312" y="617"/>
                </a:lnTo>
                <a:lnTo>
                  <a:pt x="3312" y="307"/>
                </a:lnTo>
                <a:close/>
                <a:moveTo>
                  <a:pt x="3611" y="755"/>
                </a:moveTo>
                <a:lnTo>
                  <a:pt x="3803" y="755"/>
                </a:lnTo>
                <a:lnTo>
                  <a:pt x="3803" y="737"/>
                </a:lnTo>
                <a:lnTo>
                  <a:pt x="3611" y="737"/>
                </a:lnTo>
                <a:lnTo>
                  <a:pt x="3611" y="755"/>
                </a:lnTo>
                <a:close/>
                <a:moveTo>
                  <a:pt x="3912" y="300"/>
                </a:moveTo>
                <a:lnTo>
                  <a:pt x="4104" y="300"/>
                </a:lnTo>
                <a:lnTo>
                  <a:pt x="4104" y="334"/>
                </a:lnTo>
                <a:lnTo>
                  <a:pt x="3912" y="334"/>
                </a:lnTo>
                <a:lnTo>
                  <a:pt x="3912" y="3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0A5A728A-EEA5-B206-BF26-39EF69B6E1BF}"/>
              </a:ext>
            </a:extLst>
          </p:cNvPr>
          <p:cNvSpPr>
            <a:spLocks noEditPoints="1"/>
          </p:cNvSpPr>
          <p:nvPr/>
        </p:nvSpPr>
        <p:spPr bwMode="auto">
          <a:xfrm>
            <a:off x="1550987" y="2556371"/>
            <a:ext cx="6515100" cy="2519363"/>
          </a:xfrm>
          <a:custGeom>
            <a:avLst/>
            <a:gdLst>
              <a:gd name="T0" fmla="*/ 192 w 4104"/>
              <a:gd name="T1" fmla="*/ 1114 h 1587"/>
              <a:gd name="T2" fmla="*/ 0 w 4104"/>
              <a:gd name="T3" fmla="*/ 1080 h 1587"/>
              <a:gd name="T4" fmla="*/ 301 w 4104"/>
              <a:gd name="T5" fmla="*/ 0 h 1587"/>
              <a:gd name="T6" fmla="*/ 493 w 4104"/>
              <a:gd name="T7" fmla="*/ 275 h 1587"/>
              <a:gd name="T8" fmla="*/ 301 w 4104"/>
              <a:gd name="T9" fmla="*/ 0 h 1587"/>
              <a:gd name="T10" fmla="*/ 792 w 4104"/>
              <a:gd name="T11" fmla="*/ 240 h 1587"/>
              <a:gd name="T12" fmla="*/ 603 w 4104"/>
              <a:gd name="T13" fmla="*/ 661 h 1587"/>
              <a:gd name="T14" fmla="*/ 904 w 4104"/>
              <a:gd name="T15" fmla="*/ 35 h 1587"/>
              <a:gd name="T16" fmla="*/ 1094 w 4104"/>
              <a:gd name="T17" fmla="*/ 506 h 1587"/>
              <a:gd name="T18" fmla="*/ 904 w 4104"/>
              <a:gd name="T19" fmla="*/ 35 h 1587"/>
              <a:gd name="T20" fmla="*/ 1395 w 4104"/>
              <a:gd name="T21" fmla="*/ 129 h 1587"/>
              <a:gd name="T22" fmla="*/ 1205 w 4104"/>
              <a:gd name="T23" fmla="*/ 446 h 1587"/>
              <a:gd name="T24" fmla="*/ 1506 w 4104"/>
              <a:gd name="T25" fmla="*/ 411 h 1587"/>
              <a:gd name="T26" fmla="*/ 1696 w 4104"/>
              <a:gd name="T27" fmla="*/ 454 h 1587"/>
              <a:gd name="T28" fmla="*/ 1506 w 4104"/>
              <a:gd name="T29" fmla="*/ 411 h 1587"/>
              <a:gd name="T30" fmla="*/ 1997 w 4104"/>
              <a:gd name="T31" fmla="*/ 755 h 1587"/>
              <a:gd name="T32" fmla="*/ 1806 w 4104"/>
              <a:gd name="T33" fmla="*/ 790 h 1587"/>
              <a:gd name="T34" fmla="*/ 2107 w 4104"/>
              <a:gd name="T35" fmla="*/ 874 h 1587"/>
              <a:gd name="T36" fmla="*/ 2298 w 4104"/>
              <a:gd name="T37" fmla="*/ 909 h 1587"/>
              <a:gd name="T38" fmla="*/ 2107 w 4104"/>
              <a:gd name="T39" fmla="*/ 874 h 1587"/>
              <a:gd name="T40" fmla="*/ 2598 w 4104"/>
              <a:gd name="T41" fmla="*/ 1492 h 1587"/>
              <a:gd name="T42" fmla="*/ 2408 w 4104"/>
              <a:gd name="T43" fmla="*/ 1124 h 1587"/>
              <a:gd name="T44" fmla="*/ 2709 w 4104"/>
              <a:gd name="T45" fmla="*/ 1423 h 1587"/>
              <a:gd name="T46" fmla="*/ 2899 w 4104"/>
              <a:gd name="T47" fmla="*/ 1141 h 1587"/>
              <a:gd name="T48" fmla="*/ 2709 w 4104"/>
              <a:gd name="T49" fmla="*/ 1423 h 1587"/>
              <a:gd name="T50" fmla="*/ 3200 w 4104"/>
              <a:gd name="T51" fmla="*/ 1587 h 1587"/>
              <a:gd name="T52" fmla="*/ 3010 w 4104"/>
              <a:gd name="T53" fmla="*/ 1012 h 1587"/>
              <a:gd name="T54" fmla="*/ 3312 w 4104"/>
              <a:gd name="T55" fmla="*/ 1560 h 1587"/>
              <a:gd name="T56" fmla="*/ 3501 w 4104"/>
              <a:gd name="T57" fmla="*/ 1012 h 1587"/>
              <a:gd name="T58" fmla="*/ 3312 w 4104"/>
              <a:gd name="T59" fmla="*/ 1560 h 1587"/>
              <a:gd name="T60" fmla="*/ 3803 w 4104"/>
              <a:gd name="T61" fmla="*/ 1270 h 1587"/>
              <a:gd name="T62" fmla="*/ 3611 w 4104"/>
              <a:gd name="T63" fmla="*/ 1030 h 1587"/>
              <a:gd name="T64" fmla="*/ 3912 w 4104"/>
              <a:gd name="T65" fmla="*/ 1107 h 1587"/>
              <a:gd name="T66" fmla="*/ 4104 w 4104"/>
              <a:gd name="T67" fmla="*/ 1012 h 1587"/>
              <a:gd name="T68" fmla="*/ 3912 w 4104"/>
              <a:gd name="T69" fmla="*/ 1107 h 15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04" h="1587">
                <a:moveTo>
                  <a:pt x="0" y="1114"/>
                </a:moveTo>
                <a:lnTo>
                  <a:pt x="192" y="1114"/>
                </a:lnTo>
                <a:lnTo>
                  <a:pt x="192" y="1080"/>
                </a:lnTo>
                <a:lnTo>
                  <a:pt x="0" y="1080"/>
                </a:lnTo>
                <a:lnTo>
                  <a:pt x="0" y="1114"/>
                </a:lnTo>
                <a:close/>
                <a:moveTo>
                  <a:pt x="301" y="0"/>
                </a:moveTo>
                <a:lnTo>
                  <a:pt x="493" y="0"/>
                </a:lnTo>
                <a:lnTo>
                  <a:pt x="493" y="275"/>
                </a:lnTo>
                <a:lnTo>
                  <a:pt x="301" y="275"/>
                </a:lnTo>
                <a:lnTo>
                  <a:pt x="301" y="0"/>
                </a:lnTo>
                <a:close/>
                <a:moveTo>
                  <a:pt x="603" y="240"/>
                </a:moveTo>
                <a:lnTo>
                  <a:pt x="792" y="240"/>
                </a:lnTo>
                <a:lnTo>
                  <a:pt x="792" y="661"/>
                </a:lnTo>
                <a:lnTo>
                  <a:pt x="603" y="661"/>
                </a:lnTo>
                <a:lnTo>
                  <a:pt x="603" y="240"/>
                </a:lnTo>
                <a:close/>
                <a:moveTo>
                  <a:pt x="904" y="35"/>
                </a:moveTo>
                <a:lnTo>
                  <a:pt x="1094" y="35"/>
                </a:lnTo>
                <a:lnTo>
                  <a:pt x="1094" y="506"/>
                </a:lnTo>
                <a:lnTo>
                  <a:pt x="904" y="506"/>
                </a:lnTo>
                <a:lnTo>
                  <a:pt x="904" y="35"/>
                </a:lnTo>
                <a:close/>
                <a:moveTo>
                  <a:pt x="1205" y="129"/>
                </a:moveTo>
                <a:lnTo>
                  <a:pt x="1395" y="129"/>
                </a:lnTo>
                <a:lnTo>
                  <a:pt x="1395" y="446"/>
                </a:lnTo>
                <a:lnTo>
                  <a:pt x="1205" y="446"/>
                </a:lnTo>
                <a:lnTo>
                  <a:pt x="1205" y="129"/>
                </a:lnTo>
                <a:close/>
                <a:moveTo>
                  <a:pt x="1506" y="411"/>
                </a:moveTo>
                <a:lnTo>
                  <a:pt x="1696" y="411"/>
                </a:lnTo>
                <a:lnTo>
                  <a:pt x="1696" y="454"/>
                </a:lnTo>
                <a:lnTo>
                  <a:pt x="1506" y="454"/>
                </a:lnTo>
                <a:lnTo>
                  <a:pt x="1506" y="411"/>
                </a:lnTo>
                <a:close/>
                <a:moveTo>
                  <a:pt x="1806" y="755"/>
                </a:moveTo>
                <a:lnTo>
                  <a:pt x="1997" y="755"/>
                </a:lnTo>
                <a:lnTo>
                  <a:pt x="1997" y="790"/>
                </a:lnTo>
                <a:lnTo>
                  <a:pt x="1806" y="790"/>
                </a:lnTo>
                <a:lnTo>
                  <a:pt x="1806" y="755"/>
                </a:lnTo>
                <a:close/>
                <a:moveTo>
                  <a:pt x="2107" y="874"/>
                </a:moveTo>
                <a:lnTo>
                  <a:pt x="2298" y="874"/>
                </a:lnTo>
                <a:lnTo>
                  <a:pt x="2298" y="909"/>
                </a:lnTo>
                <a:lnTo>
                  <a:pt x="2107" y="909"/>
                </a:lnTo>
                <a:lnTo>
                  <a:pt x="2107" y="874"/>
                </a:lnTo>
                <a:close/>
                <a:moveTo>
                  <a:pt x="2408" y="1492"/>
                </a:moveTo>
                <a:lnTo>
                  <a:pt x="2598" y="1492"/>
                </a:lnTo>
                <a:lnTo>
                  <a:pt x="2598" y="1124"/>
                </a:lnTo>
                <a:lnTo>
                  <a:pt x="2408" y="1124"/>
                </a:lnTo>
                <a:lnTo>
                  <a:pt x="2408" y="1492"/>
                </a:lnTo>
                <a:close/>
                <a:moveTo>
                  <a:pt x="2709" y="1423"/>
                </a:moveTo>
                <a:lnTo>
                  <a:pt x="2899" y="1423"/>
                </a:lnTo>
                <a:lnTo>
                  <a:pt x="2899" y="1141"/>
                </a:lnTo>
                <a:lnTo>
                  <a:pt x="2709" y="1141"/>
                </a:lnTo>
                <a:lnTo>
                  <a:pt x="2709" y="1423"/>
                </a:lnTo>
                <a:close/>
                <a:moveTo>
                  <a:pt x="3010" y="1587"/>
                </a:moveTo>
                <a:lnTo>
                  <a:pt x="3200" y="1587"/>
                </a:lnTo>
                <a:lnTo>
                  <a:pt x="3200" y="1012"/>
                </a:lnTo>
                <a:lnTo>
                  <a:pt x="3010" y="1012"/>
                </a:lnTo>
                <a:lnTo>
                  <a:pt x="3010" y="1587"/>
                </a:lnTo>
                <a:close/>
                <a:moveTo>
                  <a:pt x="3312" y="1560"/>
                </a:moveTo>
                <a:lnTo>
                  <a:pt x="3501" y="1560"/>
                </a:lnTo>
                <a:lnTo>
                  <a:pt x="3501" y="1012"/>
                </a:lnTo>
                <a:lnTo>
                  <a:pt x="3312" y="1012"/>
                </a:lnTo>
                <a:lnTo>
                  <a:pt x="3312" y="1560"/>
                </a:lnTo>
                <a:close/>
                <a:moveTo>
                  <a:pt x="3611" y="1270"/>
                </a:moveTo>
                <a:lnTo>
                  <a:pt x="3803" y="1270"/>
                </a:lnTo>
                <a:lnTo>
                  <a:pt x="3803" y="1030"/>
                </a:lnTo>
                <a:lnTo>
                  <a:pt x="3611" y="1030"/>
                </a:lnTo>
                <a:lnTo>
                  <a:pt x="3611" y="1270"/>
                </a:lnTo>
                <a:close/>
                <a:moveTo>
                  <a:pt x="3912" y="1107"/>
                </a:moveTo>
                <a:lnTo>
                  <a:pt x="4104" y="1107"/>
                </a:lnTo>
                <a:lnTo>
                  <a:pt x="4104" y="1012"/>
                </a:lnTo>
                <a:lnTo>
                  <a:pt x="3912" y="1012"/>
                </a:lnTo>
                <a:lnTo>
                  <a:pt x="3912" y="1107"/>
                </a:lnTo>
                <a:close/>
              </a:path>
            </a:pathLst>
          </a:custGeom>
          <a:solidFill>
            <a:srgbClr val="A5A5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69C47F35-5031-9329-4DC5-B066FC47A15E}"/>
              </a:ext>
            </a:extLst>
          </p:cNvPr>
          <p:cNvSpPr>
            <a:spLocks noEditPoints="1"/>
          </p:cNvSpPr>
          <p:nvPr/>
        </p:nvSpPr>
        <p:spPr bwMode="auto">
          <a:xfrm>
            <a:off x="1550987" y="2489696"/>
            <a:ext cx="6515100" cy="2054225"/>
          </a:xfrm>
          <a:custGeom>
            <a:avLst/>
            <a:gdLst>
              <a:gd name="T0" fmla="*/ 192 w 4104"/>
              <a:gd name="T1" fmla="*/ 926 h 1294"/>
              <a:gd name="T2" fmla="*/ 0 w 4104"/>
              <a:gd name="T3" fmla="*/ 1003 h 1294"/>
              <a:gd name="T4" fmla="*/ 301 w 4104"/>
              <a:gd name="T5" fmla="*/ 0 h 1294"/>
              <a:gd name="T6" fmla="*/ 493 w 4104"/>
              <a:gd name="T7" fmla="*/ 42 h 1294"/>
              <a:gd name="T8" fmla="*/ 301 w 4104"/>
              <a:gd name="T9" fmla="*/ 0 h 1294"/>
              <a:gd name="T10" fmla="*/ 792 w 4104"/>
              <a:gd name="T11" fmla="*/ 1260 h 1294"/>
              <a:gd name="T12" fmla="*/ 603 w 4104"/>
              <a:gd name="T13" fmla="*/ 1054 h 1294"/>
              <a:gd name="T14" fmla="*/ 904 w 4104"/>
              <a:gd name="T15" fmla="*/ 1294 h 1294"/>
              <a:gd name="T16" fmla="*/ 1094 w 4104"/>
              <a:gd name="T17" fmla="*/ 1054 h 1294"/>
              <a:gd name="T18" fmla="*/ 904 w 4104"/>
              <a:gd name="T19" fmla="*/ 1294 h 1294"/>
              <a:gd name="T20" fmla="*/ 1395 w 4104"/>
              <a:gd name="T21" fmla="*/ 1183 h 1294"/>
              <a:gd name="T22" fmla="*/ 1205 w 4104"/>
              <a:gd name="T23" fmla="*/ 1054 h 1294"/>
              <a:gd name="T24" fmla="*/ 1506 w 4104"/>
              <a:gd name="T25" fmla="*/ 1114 h 1294"/>
              <a:gd name="T26" fmla="*/ 1696 w 4104"/>
              <a:gd name="T27" fmla="*/ 1054 h 1294"/>
              <a:gd name="T28" fmla="*/ 1506 w 4104"/>
              <a:gd name="T29" fmla="*/ 1114 h 1294"/>
              <a:gd name="T30" fmla="*/ 1997 w 4104"/>
              <a:gd name="T31" fmla="*/ 703 h 1294"/>
              <a:gd name="T32" fmla="*/ 1806 w 4104"/>
              <a:gd name="T33" fmla="*/ 797 h 1294"/>
              <a:gd name="T34" fmla="*/ 2107 w 4104"/>
              <a:gd name="T35" fmla="*/ 780 h 1294"/>
              <a:gd name="T36" fmla="*/ 2298 w 4104"/>
              <a:gd name="T37" fmla="*/ 916 h 1294"/>
              <a:gd name="T38" fmla="*/ 2107 w 4104"/>
              <a:gd name="T39" fmla="*/ 780 h 1294"/>
              <a:gd name="T40" fmla="*/ 2598 w 4104"/>
              <a:gd name="T41" fmla="*/ 609 h 1294"/>
              <a:gd name="T42" fmla="*/ 2408 w 4104"/>
              <a:gd name="T43" fmla="*/ 985 h 1294"/>
              <a:gd name="T44" fmla="*/ 2709 w 4104"/>
              <a:gd name="T45" fmla="*/ 693 h 1294"/>
              <a:gd name="T46" fmla="*/ 2899 w 4104"/>
              <a:gd name="T47" fmla="*/ 857 h 1294"/>
              <a:gd name="T48" fmla="*/ 2709 w 4104"/>
              <a:gd name="T49" fmla="*/ 693 h 1294"/>
              <a:gd name="T50" fmla="*/ 3200 w 4104"/>
              <a:gd name="T51" fmla="*/ 436 h 1294"/>
              <a:gd name="T52" fmla="*/ 3010 w 4104"/>
              <a:gd name="T53" fmla="*/ 822 h 1294"/>
              <a:gd name="T54" fmla="*/ 3312 w 4104"/>
              <a:gd name="T55" fmla="*/ 419 h 1294"/>
              <a:gd name="T56" fmla="*/ 3501 w 4104"/>
              <a:gd name="T57" fmla="*/ 624 h 1294"/>
              <a:gd name="T58" fmla="*/ 3312 w 4104"/>
              <a:gd name="T59" fmla="*/ 419 h 1294"/>
              <a:gd name="T60" fmla="*/ 3803 w 4104"/>
              <a:gd name="T61" fmla="*/ 624 h 1294"/>
              <a:gd name="T62" fmla="*/ 3611 w 4104"/>
              <a:gd name="T63" fmla="*/ 659 h 1294"/>
              <a:gd name="T64" fmla="*/ 3912 w 4104"/>
              <a:gd name="T65" fmla="*/ 582 h 1294"/>
              <a:gd name="T66" fmla="*/ 4104 w 4104"/>
              <a:gd name="T67" fmla="*/ 617 h 1294"/>
              <a:gd name="T68" fmla="*/ 3912 w 4104"/>
              <a:gd name="T69" fmla="*/ 582 h 1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04" h="1294">
                <a:moveTo>
                  <a:pt x="0" y="926"/>
                </a:moveTo>
                <a:lnTo>
                  <a:pt x="192" y="926"/>
                </a:lnTo>
                <a:lnTo>
                  <a:pt x="192" y="1003"/>
                </a:lnTo>
                <a:lnTo>
                  <a:pt x="0" y="1003"/>
                </a:lnTo>
                <a:lnTo>
                  <a:pt x="0" y="926"/>
                </a:lnTo>
                <a:close/>
                <a:moveTo>
                  <a:pt x="301" y="0"/>
                </a:moveTo>
                <a:lnTo>
                  <a:pt x="493" y="0"/>
                </a:lnTo>
                <a:lnTo>
                  <a:pt x="493" y="42"/>
                </a:lnTo>
                <a:lnTo>
                  <a:pt x="301" y="42"/>
                </a:lnTo>
                <a:lnTo>
                  <a:pt x="301" y="0"/>
                </a:lnTo>
                <a:close/>
                <a:moveTo>
                  <a:pt x="603" y="1260"/>
                </a:moveTo>
                <a:lnTo>
                  <a:pt x="792" y="1260"/>
                </a:lnTo>
                <a:lnTo>
                  <a:pt x="792" y="1054"/>
                </a:lnTo>
                <a:lnTo>
                  <a:pt x="603" y="1054"/>
                </a:lnTo>
                <a:lnTo>
                  <a:pt x="603" y="1260"/>
                </a:lnTo>
                <a:close/>
                <a:moveTo>
                  <a:pt x="904" y="1294"/>
                </a:moveTo>
                <a:lnTo>
                  <a:pt x="1094" y="1294"/>
                </a:lnTo>
                <a:lnTo>
                  <a:pt x="1094" y="1054"/>
                </a:lnTo>
                <a:lnTo>
                  <a:pt x="904" y="1054"/>
                </a:lnTo>
                <a:lnTo>
                  <a:pt x="904" y="1294"/>
                </a:lnTo>
                <a:close/>
                <a:moveTo>
                  <a:pt x="1205" y="1183"/>
                </a:moveTo>
                <a:lnTo>
                  <a:pt x="1395" y="1183"/>
                </a:lnTo>
                <a:lnTo>
                  <a:pt x="1395" y="1054"/>
                </a:lnTo>
                <a:lnTo>
                  <a:pt x="1205" y="1054"/>
                </a:lnTo>
                <a:lnTo>
                  <a:pt x="1205" y="1183"/>
                </a:lnTo>
                <a:close/>
                <a:moveTo>
                  <a:pt x="1506" y="1114"/>
                </a:moveTo>
                <a:lnTo>
                  <a:pt x="1696" y="1114"/>
                </a:lnTo>
                <a:lnTo>
                  <a:pt x="1696" y="1054"/>
                </a:lnTo>
                <a:lnTo>
                  <a:pt x="1506" y="1054"/>
                </a:lnTo>
                <a:lnTo>
                  <a:pt x="1506" y="1114"/>
                </a:lnTo>
                <a:close/>
                <a:moveTo>
                  <a:pt x="1806" y="703"/>
                </a:moveTo>
                <a:lnTo>
                  <a:pt x="1997" y="703"/>
                </a:lnTo>
                <a:lnTo>
                  <a:pt x="1997" y="797"/>
                </a:lnTo>
                <a:lnTo>
                  <a:pt x="1806" y="797"/>
                </a:lnTo>
                <a:lnTo>
                  <a:pt x="1806" y="703"/>
                </a:lnTo>
                <a:close/>
                <a:moveTo>
                  <a:pt x="2107" y="780"/>
                </a:moveTo>
                <a:lnTo>
                  <a:pt x="2298" y="780"/>
                </a:lnTo>
                <a:lnTo>
                  <a:pt x="2298" y="916"/>
                </a:lnTo>
                <a:lnTo>
                  <a:pt x="2107" y="916"/>
                </a:lnTo>
                <a:lnTo>
                  <a:pt x="2107" y="780"/>
                </a:lnTo>
                <a:close/>
                <a:moveTo>
                  <a:pt x="2408" y="609"/>
                </a:moveTo>
                <a:lnTo>
                  <a:pt x="2598" y="609"/>
                </a:lnTo>
                <a:lnTo>
                  <a:pt x="2598" y="985"/>
                </a:lnTo>
                <a:lnTo>
                  <a:pt x="2408" y="985"/>
                </a:lnTo>
                <a:lnTo>
                  <a:pt x="2408" y="609"/>
                </a:lnTo>
                <a:close/>
                <a:moveTo>
                  <a:pt x="2709" y="693"/>
                </a:moveTo>
                <a:lnTo>
                  <a:pt x="2899" y="693"/>
                </a:lnTo>
                <a:lnTo>
                  <a:pt x="2899" y="857"/>
                </a:lnTo>
                <a:lnTo>
                  <a:pt x="2709" y="857"/>
                </a:lnTo>
                <a:lnTo>
                  <a:pt x="2709" y="693"/>
                </a:lnTo>
                <a:close/>
                <a:moveTo>
                  <a:pt x="3010" y="436"/>
                </a:moveTo>
                <a:lnTo>
                  <a:pt x="3200" y="436"/>
                </a:lnTo>
                <a:lnTo>
                  <a:pt x="3200" y="822"/>
                </a:lnTo>
                <a:lnTo>
                  <a:pt x="3010" y="822"/>
                </a:lnTo>
                <a:lnTo>
                  <a:pt x="3010" y="436"/>
                </a:lnTo>
                <a:close/>
                <a:moveTo>
                  <a:pt x="3312" y="419"/>
                </a:moveTo>
                <a:lnTo>
                  <a:pt x="3501" y="419"/>
                </a:lnTo>
                <a:lnTo>
                  <a:pt x="3501" y="624"/>
                </a:lnTo>
                <a:lnTo>
                  <a:pt x="3312" y="624"/>
                </a:lnTo>
                <a:lnTo>
                  <a:pt x="3312" y="419"/>
                </a:lnTo>
                <a:close/>
                <a:moveTo>
                  <a:pt x="3611" y="624"/>
                </a:moveTo>
                <a:lnTo>
                  <a:pt x="3803" y="624"/>
                </a:lnTo>
                <a:lnTo>
                  <a:pt x="3803" y="659"/>
                </a:lnTo>
                <a:lnTo>
                  <a:pt x="3611" y="659"/>
                </a:lnTo>
                <a:lnTo>
                  <a:pt x="3611" y="624"/>
                </a:lnTo>
                <a:close/>
                <a:moveTo>
                  <a:pt x="3912" y="582"/>
                </a:moveTo>
                <a:lnTo>
                  <a:pt x="4104" y="582"/>
                </a:lnTo>
                <a:lnTo>
                  <a:pt x="4104" y="617"/>
                </a:lnTo>
                <a:lnTo>
                  <a:pt x="3912" y="617"/>
                </a:lnTo>
                <a:lnTo>
                  <a:pt x="3912" y="582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5BC3D943-D1C4-8A10-E306-0052E67A78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463675" y="4162921"/>
            <a:ext cx="6689725" cy="0"/>
          </a:xfrm>
          <a:prstGeom prst="line">
            <a:avLst/>
          </a:prstGeom>
          <a:noFill/>
          <a:ln w="15875" cap="flat">
            <a:solidFill>
              <a:srgbClr val="D9D9D9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83615442-D502-FA1F-2D2E-3C25D56A3BEB}"/>
              </a:ext>
            </a:extLst>
          </p:cNvPr>
          <p:cNvSpPr>
            <a:spLocks/>
          </p:cNvSpPr>
          <p:nvPr/>
        </p:nvSpPr>
        <p:spPr bwMode="auto">
          <a:xfrm>
            <a:off x="1704975" y="2488108"/>
            <a:ext cx="6207125" cy="1755775"/>
          </a:xfrm>
          <a:custGeom>
            <a:avLst/>
            <a:gdLst>
              <a:gd name="T0" fmla="*/ 0 w 3910"/>
              <a:gd name="T1" fmla="*/ 1029 h 1106"/>
              <a:gd name="T2" fmla="*/ 299 w 3910"/>
              <a:gd name="T3" fmla="*/ 0 h 1106"/>
              <a:gd name="T4" fmla="*/ 600 w 3910"/>
              <a:gd name="T5" fmla="*/ 490 h 1106"/>
              <a:gd name="T6" fmla="*/ 902 w 3910"/>
              <a:gd name="T7" fmla="*/ 317 h 1106"/>
              <a:gd name="T8" fmla="*/ 1203 w 3910"/>
              <a:gd name="T9" fmla="*/ 300 h 1106"/>
              <a:gd name="T10" fmla="*/ 1504 w 3910"/>
              <a:gd name="T11" fmla="*/ 515 h 1106"/>
              <a:gd name="T12" fmla="*/ 1805 w 3910"/>
              <a:gd name="T13" fmla="*/ 703 h 1106"/>
              <a:gd name="T14" fmla="*/ 2105 w 3910"/>
              <a:gd name="T15" fmla="*/ 841 h 1106"/>
              <a:gd name="T16" fmla="*/ 2406 w 3910"/>
              <a:gd name="T17" fmla="*/ 1089 h 1106"/>
              <a:gd name="T18" fmla="*/ 2707 w 3910"/>
              <a:gd name="T19" fmla="*/ 1106 h 1106"/>
              <a:gd name="T20" fmla="*/ 3008 w 3910"/>
              <a:gd name="T21" fmla="*/ 1012 h 1106"/>
              <a:gd name="T22" fmla="*/ 3309 w 3910"/>
              <a:gd name="T23" fmla="*/ 970 h 1106"/>
              <a:gd name="T24" fmla="*/ 3611 w 3910"/>
              <a:gd name="T25" fmla="*/ 884 h 1106"/>
              <a:gd name="T26" fmla="*/ 3910 w 3910"/>
              <a:gd name="T27" fmla="*/ 780 h 1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10" h="1106">
                <a:moveTo>
                  <a:pt x="0" y="1029"/>
                </a:moveTo>
                <a:lnTo>
                  <a:pt x="299" y="0"/>
                </a:lnTo>
                <a:lnTo>
                  <a:pt x="600" y="490"/>
                </a:lnTo>
                <a:lnTo>
                  <a:pt x="902" y="317"/>
                </a:lnTo>
                <a:lnTo>
                  <a:pt x="1203" y="300"/>
                </a:lnTo>
                <a:lnTo>
                  <a:pt x="1504" y="515"/>
                </a:lnTo>
                <a:lnTo>
                  <a:pt x="1805" y="703"/>
                </a:lnTo>
                <a:lnTo>
                  <a:pt x="2105" y="841"/>
                </a:lnTo>
                <a:lnTo>
                  <a:pt x="2406" y="1089"/>
                </a:lnTo>
                <a:lnTo>
                  <a:pt x="2707" y="1106"/>
                </a:lnTo>
                <a:lnTo>
                  <a:pt x="3008" y="1012"/>
                </a:lnTo>
                <a:lnTo>
                  <a:pt x="3309" y="970"/>
                </a:lnTo>
                <a:lnTo>
                  <a:pt x="3611" y="884"/>
                </a:lnTo>
                <a:lnTo>
                  <a:pt x="3910" y="780"/>
                </a:lnTo>
              </a:path>
            </a:pathLst>
          </a:custGeom>
          <a:noFill/>
          <a:ln w="47625" cap="rnd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B46E6C-9C72-81F9-1FB2-D241386ADB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6162" y="5401171"/>
            <a:ext cx="25487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5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-10</a:t>
            </a:r>
            <a:endParaRPr kumimoji="0" lang="pl-PL" altLang="pl-PL" sz="18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4675858-6505-D296-6841-BAACB450B1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1412" y="4718546"/>
            <a:ext cx="15709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5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-5</a:t>
            </a:r>
            <a:endParaRPr kumimoji="0" lang="pl-PL" altLang="pl-PL" sz="18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79A9ABA-CB3E-63BA-079D-67ACBDA5A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8562" y="4040683"/>
            <a:ext cx="9778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5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0</a:t>
            </a:r>
            <a:endParaRPr kumimoji="0" lang="pl-PL" altLang="pl-PL" sz="18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447D468-080D-E19D-6825-D16E23E373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8562" y="3359646"/>
            <a:ext cx="9778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5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5</a:t>
            </a:r>
            <a:endParaRPr kumimoji="0" lang="pl-PL" altLang="pl-PL" sz="18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133DCC-7FA7-3959-9C07-2D528274FD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3312" y="2677021"/>
            <a:ext cx="1955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5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10</a:t>
            </a:r>
            <a:endParaRPr kumimoji="0" lang="pl-PL" altLang="pl-PL" sz="18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D5533E5-47F2-2245-2902-2D81C5FA87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3312" y="1999158"/>
            <a:ext cx="1955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5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15</a:t>
            </a:r>
            <a:endParaRPr kumimoji="0" lang="pl-PL" altLang="pl-PL" sz="18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344DBC-7D19-F915-6401-FE640C3EFF9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504540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1Q1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37D9969-0F24-84DB-767F-4801A13DCCC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982378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1Q2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3676CD5-8CAB-5E37-DB64-80B3403006F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460215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1Q3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D23740-F698-DFB9-C6CC-BCB16C8907F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938053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1Q4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DA38408-404F-6C6F-2D13-D5BFB06CECC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415890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2Q1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6E44D82-D2B2-3596-48BF-51C51583A24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893728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2Q2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20E85C-2CC7-2A93-CBCE-D0E0B56908E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371565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2Q3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043551-E342-B670-C28C-FDA5FAB8F74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849403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2Q4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0205EEF-086A-6BD8-E7A3-19D2C01D464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327240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3Q1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1F67A0F-1567-DA8E-B34A-F7BFD66BECE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805078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3Q2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0071CFB-4C61-37F8-CAB4-2C142E9271C6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6282121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3Q3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9FF0448-C9E7-8266-EFD0-0D3F46EA056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6759165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3Q4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E95307B-FA2F-625B-775A-291F11B60BE9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7237003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4Q1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99902B1-798E-E27C-70DF-16A0010004E6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7714840" y="6194356"/>
            <a:ext cx="5770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2024Q2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34" name="Rectangle 52">
            <a:extLst>
              <a:ext uri="{FF2B5EF4-FFF2-40B4-BE49-F238E27FC236}">
                <a16:creationId xmlns:a16="http://schemas.microsoft.com/office/drawing/2014/main" id="{2309182F-3E06-20B5-7129-AD24C82D4E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4704" y="2932607"/>
            <a:ext cx="105381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500" b="0" i="0" u="none" strike="noStrike" cap="none" normalizeH="0" baseline="0" dirty="0">
                <a:ln>
                  <a:noFill/>
                </a:ln>
                <a:solidFill>
                  <a:srgbClr val="FFFF00"/>
                </a:solidFill>
                <a:effectLst/>
                <a:latin typeface="Calibri" panose="020F0502020204030204" pitchFamily="34" charset="0"/>
              </a:rPr>
              <a:t>Eksport netto</a:t>
            </a:r>
            <a:endParaRPr kumimoji="0" lang="pl-PL" altLang="pl-PL" sz="1800" b="0" i="0" u="none" strike="noStrike" cap="none" normalizeH="0" baseline="0" dirty="0">
              <a:ln>
                <a:noFill/>
              </a:ln>
              <a:solidFill>
                <a:srgbClr val="FFFF00"/>
              </a:solidFill>
              <a:effectLst/>
            </a:endParaRPr>
          </a:p>
        </p:txBody>
      </p:sp>
      <p:sp>
        <p:nvSpPr>
          <p:cNvPr id="35" name="Rectangle 52">
            <a:extLst>
              <a:ext uri="{FF2B5EF4-FFF2-40B4-BE49-F238E27FC236}">
                <a16:creationId xmlns:a16="http://schemas.microsoft.com/office/drawing/2014/main" id="{A83F3E74-5FD9-1A0D-E9BA-E0B5206276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0682" y="5098231"/>
            <a:ext cx="12848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500" b="0" i="0" u="none" strike="noStrike" cap="none" normalizeH="0" baseline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latin typeface="Calibri" panose="020F0502020204030204" pitchFamily="34" charset="0"/>
              </a:rPr>
              <a:t>Zmiana zapasów</a:t>
            </a:r>
            <a:endParaRPr kumimoji="0" lang="pl-PL" altLang="pl-PL" sz="1800" b="0" i="0" u="none" strike="noStrike" cap="none" normalizeH="0" baseline="0" dirty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150815807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7316FC-70D3-40EF-9F7E-8D807B137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5FE92-588A-4CC6-AA9A-FE7BE251BBE0}" type="slidenum">
              <a:rPr lang="pl-PL" smtClean="0"/>
              <a:pPr/>
              <a:t>11</a:t>
            </a:fld>
            <a:endParaRPr lang="pl-PL"/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F1C0E326-66AA-4079-8CDE-076136D78A0B}"/>
              </a:ext>
            </a:extLst>
          </p:cNvPr>
          <p:cNvSpPr txBox="1">
            <a:spLocks/>
          </p:cNvSpPr>
          <p:nvPr/>
        </p:nvSpPr>
        <p:spPr>
          <a:xfrm>
            <a:off x="1277634" y="502311"/>
            <a:ext cx="6588732" cy="1048941"/>
          </a:xfrm>
          <a:prstGeom prst="rect">
            <a:avLst/>
          </a:prstGeom>
        </p:spPr>
        <p:txBody>
          <a:bodyPr vert="horz" lIns="68580" tIns="34290" rIns="68580" bIns="3429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hangingPunct="0">
              <a:lnSpc>
                <a:spcPct val="80000"/>
              </a:lnSpc>
              <a:defRPr/>
            </a:pPr>
            <a:r>
              <a:rPr kumimoji="1" lang="pl-PL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sym typeface="Gill Sans" charset="0"/>
              </a:rPr>
              <a:t>Geopolityka: zmaterializowane ryzyko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7893983-44C3-C31C-6D28-9EF13CC113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5562" y="2200275"/>
            <a:ext cx="6477000" cy="40481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884161303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Global shipping map">
            <a:extLst>
              <a:ext uri="{FF2B5EF4-FFF2-40B4-BE49-F238E27FC236}">
                <a16:creationId xmlns:a16="http://schemas.microsoft.com/office/drawing/2014/main" id="{E3D92E1E-FF2A-4C97-B777-BE25E17B9A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9435" y="2112837"/>
            <a:ext cx="5103743" cy="382780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4" name="Tytuł 1">
            <a:extLst>
              <a:ext uri="{FF2B5EF4-FFF2-40B4-BE49-F238E27FC236}">
                <a16:creationId xmlns:a16="http://schemas.microsoft.com/office/drawing/2014/main" id="{05D0E8BF-7898-43AC-86B7-DFDB62772FFE}"/>
              </a:ext>
            </a:extLst>
          </p:cNvPr>
          <p:cNvSpPr txBox="1">
            <a:spLocks/>
          </p:cNvSpPr>
          <p:nvPr/>
        </p:nvSpPr>
        <p:spPr>
          <a:xfrm>
            <a:off x="1330614" y="446433"/>
            <a:ext cx="6588732" cy="1048941"/>
          </a:xfrm>
          <a:prstGeom prst="rect">
            <a:avLst/>
          </a:prstGeom>
        </p:spPr>
        <p:txBody>
          <a:bodyPr vert="horz" lIns="68580" tIns="34290" rIns="68580" bIns="3429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hangingPunct="0">
              <a:lnSpc>
                <a:spcPct val="80000"/>
              </a:lnSpc>
              <a:defRPr/>
            </a:pPr>
            <a:r>
              <a:rPr kumimoji="1" lang="pl-PL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sym typeface="Gill Sans" charset="0"/>
              </a:rPr>
              <a:t>Łańcuchy dostaw: zmaterializowane ryzyko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4753579C-0B39-45F1-BCEB-1FF635E76BBD}"/>
              </a:ext>
            </a:extLst>
          </p:cNvPr>
          <p:cNvSpPr/>
          <p:nvPr/>
        </p:nvSpPr>
        <p:spPr>
          <a:xfrm rot="4718024">
            <a:off x="2890787" y="2653052"/>
            <a:ext cx="1155424" cy="342168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2CF9A0D-808B-4730-90AB-BD14442A38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21754" y="3704811"/>
            <a:ext cx="3207854" cy="180441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5F3D48E1-D715-4341-9023-E9C58CBE3F9B}"/>
              </a:ext>
            </a:extLst>
          </p:cNvPr>
          <p:cNvSpPr/>
          <p:nvPr/>
        </p:nvSpPr>
        <p:spPr>
          <a:xfrm rot="12849820">
            <a:off x="4921176" y="2457377"/>
            <a:ext cx="1384532" cy="148036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95B9DE-F7BB-458E-9ED5-C56314A700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81307" y="1769574"/>
            <a:ext cx="2866244" cy="150477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1C117176-AE7B-43AD-A993-66A85D1F30AB}"/>
              </a:ext>
            </a:extLst>
          </p:cNvPr>
          <p:cNvSpPr/>
          <p:nvPr/>
        </p:nvSpPr>
        <p:spPr>
          <a:xfrm rot="18993530">
            <a:off x="6056885" y="3995081"/>
            <a:ext cx="1293041" cy="1126494"/>
          </a:xfrm>
          <a:prstGeom prst="triangle">
            <a:avLst>
              <a:gd name="adj" fmla="val 6109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DEF040F-3F74-4736-8CE0-0A9BD71042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3375" y="4210719"/>
            <a:ext cx="2814907" cy="158338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12326664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29961B4-5D07-4B96-AA4E-35E2108315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418" y="3228890"/>
            <a:ext cx="5226339" cy="39526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ytuł 1">
            <a:extLst>
              <a:ext uri="{FF2B5EF4-FFF2-40B4-BE49-F238E27FC236}">
                <a16:creationId xmlns:a16="http://schemas.microsoft.com/office/drawing/2014/main" id="{05D0E8BF-7898-43AC-86B7-DFDB62772FFE}"/>
              </a:ext>
            </a:extLst>
          </p:cNvPr>
          <p:cNvSpPr txBox="1">
            <a:spLocks/>
          </p:cNvSpPr>
          <p:nvPr/>
        </p:nvSpPr>
        <p:spPr>
          <a:xfrm>
            <a:off x="1277634" y="634073"/>
            <a:ext cx="6588732" cy="1048941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hangingPunct="0">
              <a:lnSpc>
                <a:spcPct val="80000"/>
              </a:lnSpc>
              <a:defRPr/>
            </a:pPr>
            <a:r>
              <a:rPr kumimoji="1" lang="pl-PL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sym typeface="Gill Sans" charset="0"/>
              </a:rPr>
              <a:t>Energia/klimat: zmaterializowane ryzyko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75E4539-4D3A-43F9-B615-308E2D664877}"/>
              </a:ext>
            </a:extLst>
          </p:cNvPr>
          <p:cNvSpPr/>
          <p:nvPr/>
        </p:nvSpPr>
        <p:spPr>
          <a:xfrm>
            <a:off x="1" y="5657850"/>
            <a:ext cx="91440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l-PL" sz="18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5258404-CEA1-4815-A2B3-05050785F656}"/>
              </a:ext>
            </a:extLst>
          </p:cNvPr>
          <p:cNvSpPr/>
          <p:nvPr/>
        </p:nvSpPr>
        <p:spPr>
          <a:xfrm>
            <a:off x="0" y="5607987"/>
            <a:ext cx="9144001" cy="49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l-PL" sz="18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681DB62-BF55-4174-B6A0-28B35067A8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4672" y="1965390"/>
            <a:ext cx="3610502" cy="308383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7AD5589-C65A-4E0C-6241-12C4A9A2E8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2599" y="2885813"/>
            <a:ext cx="4560559" cy="250830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398193241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659DD72-B26F-4BA3-8815-55ED3DCE1E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5000"/>
                    </a14:imgEffect>
                    <a14:imgEffect>
                      <a14:colorTemperature colorTemp="5820"/>
                    </a14:imgEffect>
                    <a14:imgEffect>
                      <a14:saturation sat="300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0832176">
            <a:off x="4138514" y="2203516"/>
            <a:ext cx="4857091" cy="32380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05B5F5E-3E67-420C-A4F8-3BDDA603C7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41435" y="1943100"/>
            <a:ext cx="4952619" cy="324966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9" name="Tytuł 1">
            <a:extLst>
              <a:ext uri="{FF2B5EF4-FFF2-40B4-BE49-F238E27FC236}">
                <a16:creationId xmlns:a16="http://schemas.microsoft.com/office/drawing/2014/main" id="{F1C0E326-66AA-4079-8CDE-076136D78A0B}"/>
              </a:ext>
            </a:extLst>
          </p:cNvPr>
          <p:cNvSpPr txBox="1">
            <a:spLocks/>
          </p:cNvSpPr>
          <p:nvPr/>
        </p:nvSpPr>
        <p:spPr>
          <a:xfrm>
            <a:off x="1202133" y="588615"/>
            <a:ext cx="7941867" cy="104894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hangingPunct="0">
              <a:lnSpc>
                <a:spcPct val="80000"/>
              </a:lnSpc>
              <a:defRPr/>
            </a:pPr>
            <a:r>
              <a:rPr kumimoji="1" lang="pl-PL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sym typeface="Gill Sans" charset="0"/>
              </a:rPr>
              <a:t>Jak świat się do tego dostosuje?</a:t>
            </a:r>
          </a:p>
        </p:txBody>
      </p:sp>
    </p:spTree>
    <p:extLst>
      <p:ext uri="{BB962C8B-B14F-4D97-AF65-F5344CB8AC3E}">
        <p14:creationId xmlns:p14="http://schemas.microsoft.com/office/powerpoint/2010/main" val="2939457417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7C7E6-AE6B-46E5-8F4A-C631B3B7D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48189" y="7548734"/>
            <a:ext cx="8229600" cy="857250"/>
          </a:xfrm>
        </p:spPr>
        <p:txBody>
          <a:bodyPr>
            <a:normAutofit/>
          </a:bodyPr>
          <a:lstStyle/>
          <a:p>
            <a:r>
              <a:rPr lang="pl-PL" dirty="0"/>
              <a:t> </a:t>
            </a:r>
          </a:p>
        </p:txBody>
      </p:sp>
      <p:sp>
        <p:nvSpPr>
          <p:cNvPr id="60" name="Freeform 6">
            <a:extLst>
              <a:ext uri="{FF2B5EF4-FFF2-40B4-BE49-F238E27FC236}">
                <a16:creationId xmlns:a16="http://schemas.microsoft.com/office/drawing/2014/main" id="{8E8CB993-3F79-4CB4-A5A8-579EFC21B8D2}"/>
              </a:ext>
            </a:extLst>
          </p:cNvPr>
          <p:cNvSpPr>
            <a:spLocks/>
          </p:cNvSpPr>
          <p:nvPr/>
        </p:nvSpPr>
        <p:spPr bwMode="auto">
          <a:xfrm>
            <a:off x="1547664" y="2630368"/>
            <a:ext cx="5548173" cy="2554245"/>
          </a:xfrm>
          <a:custGeom>
            <a:avLst/>
            <a:gdLst>
              <a:gd name="T0" fmla="*/ 0 w 3990"/>
              <a:gd name="T1" fmla="*/ 594 h 1981"/>
              <a:gd name="T2" fmla="*/ 145 w 3990"/>
              <a:gd name="T3" fmla="*/ 571 h 1981"/>
              <a:gd name="T4" fmla="*/ 285 w 3990"/>
              <a:gd name="T5" fmla="*/ 548 h 1981"/>
              <a:gd name="T6" fmla="*/ 430 w 3990"/>
              <a:gd name="T7" fmla="*/ 530 h 1981"/>
              <a:gd name="T8" fmla="*/ 570 w 3990"/>
              <a:gd name="T9" fmla="*/ 507 h 1981"/>
              <a:gd name="T10" fmla="*/ 715 w 3990"/>
              <a:gd name="T11" fmla="*/ 484 h 1981"/>
              <a:gd name="T12" fmla="*/ 855 w 3990"/>
              <a:gd name="T13" fmla="*/ 466 h 1981"/>
              <a:gd name="T14" fmla="*/ 1000 w 3990"/>
              <a:gd name="T15" fmla="*/ 443 h 1981"/>
              <a:gd name="T16" fmla="*/ 1140 w 3990"/>
              <a:gd name="T17" fmla="*/ 425 h 1981"/>
              <a:gd name="T18" fmla="*/ 1285 w 3990"/>
              <a:gd name="T19" fmla="*/ 408 h 1981"/>
              <a:gd name="T20" fmla="*/ 1425 w 3990"/>
              <a:gd name="T21" fmla="*/ 385 h 1981"/>
              <a:gd name="T22" fmla="*/ 1570 w 3990"/>
              <a:gd name="T23" fmla="*/ 367 h 1981"/>
              <a:gd name="T24" fmla="*/ 1710 w 3990"/>
              <a:gd name="T25" fmla="*/ 344 h 1981"/>
              <a:gd name="T26" fmla="*/ 1855 w 3990"/>
              <a:gd name="T27" fmla="*/ 326 h 1981"/>
              <a:gd name="T28" fmla="*/ 1995 w 3990"/>
              <a:gd name="T29" fmla="*/ 303 h 1981"/>
              <a:gd name="T30" fmla="*/ 2140 w 3990"/>
              <a:gd name="T31" fmla="*/ 285 h 1981"/>
              <a:gd name="T32" fmla="*/ 2280 w 3990"/>
              <a:gd name="T33" fmla="*/ 262 h 1981"/>
              <a:gd name="T34" fmla="*/ 2425 w 3990"/>
              <a:gd name="T35" fmla="*/ 245 h 1981"/>
              <a:gd name="T36" fmla="*/ 2565 w 3990"/>
              <a:gd name="T37" fmla="*/ 221 h 1981"/>
              <a:gd name="T38" fmla="*/ 2710 w 3990"/>
              <a:gd name="T39" fmla="*/ 204 h 1981"/>
              <a:gd name="T40" fmla="*/ 2850 w 3990"/>
              <a:gd name="T41" fmla="*/ 181 h 1981"/>
              <a:gd name="T42" fmla="*/ 2995 w 3990"/>
              <a:gd name="T43" fmla="*/ 157 h 1981"/>
              <a:gd name="T44" fmla="*/ 3135 w 3990"/>
              <a:gd name="T45" fmla="*/ 140 h 1981"/>
              <a:gd name="T46" fmla="*/ 3280 w 3990"/>
              <a:gd name="T47" fmla="*/ 116 h 1981"/>
              <a:gd name="T48" fmla="*/ 3420 w 3990"/>
              <a:gd name="T49" fmla="*/ 93 h 1981"/>
              <a:gd name="T50" fmla="*/ 3565 w 3990"/>
              <a:gd name="T51" fmla="*/ 76 h 1981"/>
              <a:gd name="T52" fmla="*/ 3705 w 3990"/>
              <a:gd name="T53" fmla="*/ 52 h 1981"/>
              <a:gd name="T54" fmla="*/ 3850 w 3990"/>
              <a:gd name="T55" fmla="*/ 29 h 1981"/>
              <a:gd name="T56" fmla="*/ 3990 w 3990"/>
              <a:gd name="T57" fmla="*/ 0 h 1981"/>
              <a:gd name="T58" fmla="*/ 3990 w 3990"/>
              <a:gd name="T59" fmla="*/ 1981 h 1981"/>
              <a:gd name="T60" fmla="*/ 3850 w 3990"/>
              <a:gd name="T61" fmla="*/ 1981 h 1981"/>
              <a:gd name="T62" fmla="*/ 3705 w 3990"/>
              <a:gd name="T63" fmla="*/ 1981 h 1981"/>
              <a:gd name="T64" fmla="*/ 3565 w 3990"/>
              <a:gd name="T65" fmla="*/ 1981 h 1981"/>
              <a:gd name="T66" fmla="*/ 3420 w 3990"/>
              <a:gd name="T67" fmla="*/ 1981 h 1981"/>
              <a:gd name="T68" fmla="*/ 3280 w 3990"/>
              <a:gd name="T69" fmla="*/ 1981 h 1981"/>
              <a:gd name="T70" fmla="*/ 3135 w 3990"/>
              <a:gd name="T71" fmla="*/ 1981 h 1981"/>
              <a:gd name="T72" fmla="*/ 2995 w 3990"/>
              <a:gd name="T73" fmla="*/ 1981 h 1981"/>
              <a:gd name="T74" fmla="*/ 2850 w 3990"/>
              <a:gd name="T75" fmla="*/ 1981 h 1981"/>
              <a:gd name="T76" fmla="*/ 2710 w 3990"/>
              <a:gd name="T77" fmla="*/ 1981 h 1981"/>
              <a:gd name="T78" fmla="*/ 2565 w 3990"/>
              <a:gd name="T79" fmla="*/ 1981 h 1981"/>
              <a:gd name="T80" fmla="*/ 2425 w 3990"/>
              <a:gd name="T81" fmla="*/ 1981 h 1981"/>
              <a:gd name="T82" fmla="*/ 2280 w 3990"/>
              <a:gd name="T83" fmla="*/ 1981 h 1981"/>
              <a:gd name="T84" fmla="*/ 2140 w 3990"/>
              <a:gd name="T85" fmla="*/ 1981 h 1981"/>
              <a:gd name="T86" fmla="*/ 1995 w 3990"/>
              <a:gd name="T87" fmla="*/ 1981 h 1981"/>
              <a:gd name="T88" fmla="*/ 1855 w 3990"/>
              <a:gd name="T89" fmla="*/ 1981 h 1981"/>
              <a:gd name="T90" fmla="*/ 1710 w 3990"/>
              <a:gd name="T91" fmla="*/ 1981 h 1981"/>
              <a:gd name="T92" fmla="*/ 1570 w 3990"/>
              <a:gd name="T93" fmla="*/ 1981 h 1981"/>
              <a:gd name="T94" fmla="*/ 1425 w 3990"/>
              <a:gd name="T95" fmla="*/ 1981 h 1981"/>
              <a:gd name="T96" fmla="*/ 1285 w 3990"/>
              <a:gd name="T97" fmla="*/ 1981 h 1981"/>
              <a:gd name="T98" fmla="*/ 1140 w 3990"/>
              <a:gd name="T99" fmla="*/ 1981 h 1981"/>
              <a:gd name="T100" fmla="*/ 1000 w 3990"/>
              <a:gd name="T101" fmla="*/ 1981 h 1981"/>
              <a:gd name="T102" fmla="*/ 855 w 3990"/>
              <a:gd name="T103" fmla="*/ 1981 h 1981"/>
              <a:gd name="T104" fmla="*/ 715 w 3990"/>
              <a:gd name="T105" fmla="*/ 1981 h 1981"/>
              <a:gd name="T106" fmla="*/ 570 w 3990"/>
              <a:gd name="T107" fmla="*/ 1981 h 1981"/>
              <a:gd name="T108" fmla="*/ 430 w 3990"/>
              <a:gd name="T109" fmla="*/ 1981 h 1981"/>
              <a:gd name="T110" fmla="*/ 285 w 3990"/>
              <a:gd name="T111" fmla="*/ 1981 h 1981"/>
              <a:gd name="T112" fmla="*/ 145 w 3990"/>
              <a:gd name="T113" fmla="*/ 1981 h 1981"/>
              <a:gd name="T114" fmla="*/ 0 w 3990"/>
              <a:gd name="T115" fmla="*/ 1981 h 1981"/>
              <a:gd name="T116" fmla="*/ 0 w 3990"/>
              <a:gd name="T117" fmla="*/ 594 h 1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990" h="1981">
                <a:moveTo>
                  <a:pt x="0" y="594"/>
                </a:moveTo>
                <a:lnTo>
                  <a:pt x="145" y="571"/>
                </a:lnTo>
                <a:lnTo>
                  <a:pt x="285" y="548"/>
                </a:lnTo>
                <a:lnTo>
                  <a:pt x="430" y="530"/>
                </a:lnTo>
                <a:lnTo>
                  <a:pt x="570" y="507"/>
                </a:lnTo>
                <a:lnTo>
                  <a:pt x="715" y="484"/>
                </a:lnTo>
                <a:lnTo>
                  <a:pt x="855" y="466"/>
                </a:lnTo>
                <a:lnTo>
                  <a:pt x="1000" y="443"/>
                </a:lnTo>
                <a:lnTo>
                  <a:pt x="1140" y="425"/>
                </a:lnTo>
                <a:lnTo>
                  <a:pt x="1285" y="408"/>
                </a:lnTo>
                <a:lnTo>
                  <a:pt x="1425" y="385"/>
                </a:lnTo>
                <a:lnTo>
                  <a:pt x="1570" y="367"/>
                </a:lnTo>
                <a:lnTo>
                  <a:pt x="1710" y="344"/>
                </a:lnTo>
                <a:lnTo>
                  <a:pt x="1855" y="326"/>
                </a:lnTo>
                <a:lnTo>
                  <a:pt x="1995" y="303"/>
                </a:lnTo>
                <a:lnTo>
                  <a:pt x="2140" y="285"/>
                </a:lnTo>
                <a:lnTo>
                  <a:pt x="2280" y="262"/>
                </a:lnTo>
                <a:lnTo>
                  <a:pt x="2425" y="245"/>
                </a:lnTo>
                <a:lnTo>
                  <a:pt x="2565" y="221"/>
                </a:lnTo>
                <a:lnTo>
                  <a:pt x="2710" y="204"/>
                </a:lnTo>
                <a:lnTo>
                  <a:pt x="2850" y="181"/>
                </a:lnTo>
                <a:lnTo>
                  <a:pt x="2995" y="157"/>
                </a:lnTo>
                <a:lnTo>
                  <a:pt x="3135" y="140"/>
                </a:lnTo>
                <a:lnTo>
                  <a:pt x="3280" y="116"/>
                </a:lnTo>
                <a:lnTo>
                  <a:pt x="3420" y="93"/>
                </a:lnTo>
                <a:lnTo>
                  <a:pt x="3565" y="76"/>
                </a:lnTo>
                <a:lnTo>
                  <a:pt x="3705" y="52"/>
                </a:lnTo>
                <a:lnTo>
                  <a:pt x="3850" y="29"/>
                </a:lnTo>
                <a:lnTo>
                  <a:pt x="3990" y="0"/>
                </a:lnTo>
                <a:lnTo>
                  <a:pt x="3990" y="1981"/>
                </a:lnTo>
                <a:lnTo>
                  <a:pt x="3850" y="1981"/>
                </a:lnTo>
                <a:lnTo>
                  <a:pt x="3705" y="1981"/>
                </a:lnTo>
                <a:lnTo>
                  <a:pt x="3565" y="1981"/>
                </a:lnTo>
                <a:lnTo>
                  <a:pt x="3420" y="1981"/>
                </a:lnTo>
                <a:lnTo>
                  <a:pt x="3280" y="1981"/>
                </a:lnTo>
                <a:lnTo>
                  <a:pt x="3135" y="1981"/>
                </a:lnTo>
                <a:lnTo>
                  <a:pt x="2995" y="1981"/>
                </a:lnTo>
                <a:lnTo>
                  <a:pt x="2850" y="1981"/>
                </a:lnTo>
                <a:lnTo>
                  <a:pt x="2710" y="1981"/>
                </a:lnTo>
                <a:lnTo>
                  <a:pt x="2565" y="1981"/>
                </a:lnTo>
                <a:lnTo>
                  <a:pt x="2425" y="1981"/>
                </a:lnTo>
                <a:lnTo>
                  <a:pt x="2280" y="1981"/>
                </a:lnTo>
                <a:lnTo>
                  <a:pt x="2140" y="1981"/>
                </a:lnTo>
                <a:lnTo>
                  <a:pt x="1995" y="1981"/>
                </a:lnTo>
                <a:lnTo>
                  <a:pt x="1855" y="1981"/>
                </a:lnTo>
                <a:lnTo>
                  <a:pt x="1710" y="1981"/>
                </a:lnTo>
                <a:lnTo>
                  <a:pt x="1570" y="1981"/>
                </a:lnTo>
                <a:lnTo>
                  <a:pt x="1425" y="1981"/>
                </a:lnTo>
                <a:lnTo>
                  <a:pt x="1285" y="1981"/>
                </a:lnTo>
                <a:lnTo>
                  <a:pt x="1140" y="1981"/>
                </a:lnTo>
                <a:lnTo>
                  <a:pt x="1000" y="1981"/>
                </a:lnTo>
                <a:lnTo>
                  <a:pt x="855" y="1981"/>
                </a:lnTo>
                <a:lnTo>
                  <a:pt x="715" y="1981"/>
                </a:lnTo>
                <a:lnTo>
                  <a:pt x="570" y="1981"/>
                </a:lnTo>
                <a:lnTo>
                  <a:pt x="430" y="1981"/>
                </a:lnTo>
                <a:lnTo>
                  <a:pt x="285" y="1981"/>
                </a:lnTo>
                <a:lnTo>
                  <a:pt x="145" y="1981"/>
                </a:lnTo>
                <a:lnTo>
                  <a:pt x="0" y="1981"/>
                </a:lnTo>
                <a:lnTo>
                  <a:pt x="0" y="594"/>
                </a:lnTo>
                <a:close/>
              </a:path>
            </a:pathLst>
          </a:custGeom>
          <a:solidFill>
            <a:srgbClr val="A6A6A6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l-PL" sz="1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2" name="Freeform 8">
            <a:extLst>
              <a:ext uri="{FF2B5EF4-FFF2-40B4-BE49-F238E27FC236}">
                <a16:creationId xmlns:a16="http://schemas.microsoft.com/office/drawing/2014/main" id="{5F2C6094-DC22-4C1E-8016-64998EAC9A01}"/>
              </a:ext>
            </a:extLst>
          </p:cNvPr>
          <p:cNvSpPr>
            <a:spLocks/>
          </p:cNvSpPr>
          <p:nvPr/>
        </p:nvSpPr>
        <p:spPr bwMode="auto">
          <a:xfrm>
            <a:off x="1547664" y="3488674"/>
            <a:ext cx="5548173" cy="1695938"/>
          </a:xfrm>
          <a:custGeom>
            <a:avLst/>
            <a:gdLst>
              <a:gd name="T0" fmla="*/ 0 w 3990"/>
              <a:gd name="T1" fmla="*/ 1014 h 1014"/>
              <a:gd name="T2" fmla="*/ 145 w 3990"/>
              <a:gd name="T3" fmla="*/ 1014 h 1014"/>
              <a:gd name="T4" fmla="*/ 285 w 3990"/>
              <a:gd name="T5" fmla="*/ 1014 h 1014"/>
              <a:gd name="T6" fmla="*/ 430 w 3990"/>
              <a:gd name="T7" fmla="*/ 1014 h 1014"/>
              <a:gd name="T8" fmla="*/ 570 w 3990"/>
              <a:gd name="T9" fmla="*/ 1009 h 1014"/>
              <a:gd name="T10" fmla="*/ 715 w 3990"/>
              <a:gd name="T11" fmla="*/ 1003 h 1014"/>
              <a:gd name="T12" fmla="*/ 855 w 3990"/>
              <a:gd name="T13" fmla="*/ 997 h 1014"/>
              <a:gd name="T14" fmla="*/ 1000 w 3990"/>
              <a:gd name="T15" fmla="*/ 985 h 1014"/>
              <a:gd name="T16" fmla="*/ 1140 w 3990"/>
              <a:gd name="T17" fmla="*/ 968 h 1014"/>
              <a:gd name="T18" fmla="*/ 1285 w 3990"/>
              <a:gd name="T19" fmla="*/ 944 h 1014"/>
              <a:gd name="T20" fmla="*/ 1425 w 3990"/>
              <a:gd name="T21" fmla="*/ 909 h 1014"/>
              <a:gd name="T22" fmla="*/ 1570 w 3990"/>
              <a:gd name="T23" fmla="*/ 886 h 1014"/>
              <a:gd name="T24" fmla="*/ 1710 w 3990"/>
              <a:gd name="T25" fmla="*/ 840 h 1014"/>
              <a:gd name="T26" fmla="*/ 1855 w 3990"/>
              <a:gd name="T27" fmla="*/ 810 h 1014"/>
              <a:gd name="T28" fmla="*/ 1995 w 3990"/>
              <a:gd name="T29" fmla="*/ 781 h 1014"/>
              <a:gd name="T30" fmla="*/ 2140 w 3990"/>
              <a:gd name="T31" fmla="*/ 746 h 1014"/>
              <a:gd name="T32" fmla="*/ 2280 w 3990"/>
              <a:gd name="T33" fmla="*/ 717 h 1014"/>
              <a:gd name="T34" fmla="*/ 2425 w 3990"/>
              <a:gd name="T35" fmla="*/ 659 h 1014"/>
              <a:gd name="T36" fmla="*/ 2565 w 3990"/>
              <a:gd name="T37" fmla="*/ 606 h 1014"/>
              <a:gd name="T38" fmla="*/ 2710 w 3990"/>
              <a:gd name="T39" fmla="*/ 560 h 1014"/>
              <a:gd name="T40" fmla="*/ 2850 w 3990"/>
              <a:gd name="T41" fmla="*/ 490 h 1014"/>
              <a:gd name="T42" fmla="*/ 2995 w 3990"/>
              <a:gd name="T43" fmla="*/ 437 h 1014"/>
              <a:gd name="T44" fmla="*/ 3135 w 3990"/>
              <a:gd name="T45" fmla="*/ 367 h 1014"/>
              <a:gd name="T46" fmla="*/ 3280 w 3990"/>
              <a:gd name="T47" fmla="*/ 309 h 1014"/>
              <a:gd name="T48" fmla="*/ 3420 w 3990"/>
              <a:gd name="T49" fmla="*/ 251 h 1014"/>
              <a:gd name="T50" fmla="*/ 3565 w 3990"/>
              <a:gd name="T51" fmla="*/ 193 h 1014"/>
              <a:gd name="T52" fmla="*/ 3705 w 3990"/>
              <a:gd name="T53" fmla="*/ 134 h 1014"/>
              <a:gd name="T54" fmla="*/ 3850 w 3990"/>
              <a:gd name="T55" fmla="*/ 82 h 1014"/>
              <a:gd name="T56" fmla="*/ 3990 w 3990"/>
              <a:gd name="T57" fmla="*/ 0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990" h="1014">
                <a:moveTo>
                  <a:pt x="0" y="1014"/>
                </a:moveTo>
                <a:lnTo>
                  <a:pt x="145" y="1014"/>
                </a:lnTo>
                <a:lnTo>
                  <a:pt x="285" y="1014"/>
                </a:lnTo>
                <a:lnTo>
                  <a:pt x="430" y="1014"/>
                </a:lnTo>
                <a:lnTo>
                  <a:pt x="570" y="1009"/>
                </a:lnTo>
                <a:lnTo>
                  <a:pt x="715" y="1003"/>
                </a:lnTo>
                <a:lnTo>
                  <a:pt x="855" y="997"/>
                </a:lnTo>
                <a:lnTo>
                  <a:pt x="1000" y="985"/>
                </a:lnTo>
                <a:lnTo>
                  <a:pt x="1140" y="968"/>
                </a:lnTo>
                <a:lnTo>
                  <a:pt x="1285" y="944"/>
                </a:lnTo>
                <a:lnTo>
                  <a:pt x="1425" y="909"/>
                </a:lnTo>
                <a:lnTo>
                  <a:pt x="1570" y="886"/>
                </a:lnTo>
                <a:lnTo>
                  <a:pt x="1710" y="840"/>
                </a:lnTo>
                <a:lnTo>
                  <a:pt x="1855" y="810"/>
                </a:lnTo>
                <a:lnTo>
                  <a:pt x="1995" y="781"/>
                </a:lnTo>
                <a:lnTo>
                  <a:pt x="2140" y="746"/>
                </a:lnTo>
                <a:lnTo>
                  <a:pt x="2280" y="717"/>
                </a:lnTo>
                <a:lnTo>
                  <a:pt x="2425" y="659"/>
                </a:lnTo>
                <a:lnTo>
                  <a:pt x="2565" y="606"/>
                </a:lnTo>
                <a:lnTo>
                  <a:pt x="2710" y="560"/>
                </a:lnTo>
                <a:lnTo>
                  <a:pt x="2850" y="490"/>
                </a:lnTo>
                <a:lnTo>
                  <a:pt x="2995" y="437"/>
                </a:lnTo>
                <a:lnTo>
                  <a:pt x="3135" y="367"/>
                </a:lnTo>
                <a:lnTo>
                  <a:pt x="3280" y="309"/>
                </a:lnTo>
                <a:lnTo>
                  <a:pt x="3420" y="251"/>
                </a:lnTo>
                <a:lnTo>
                  <a:pt x="3565" y="193"/>
                </a:lnTo>
                <a:lnTo>
                  <a:pt x="3705" y="134"/>
                </a:lnTo>
                <a:lnTo>
                  <a:pt x="3850" y="82"/>
                </a:lnTo>
                <a:lnTo>
                  <a:pt x="3990" y="0"/>
                </a:lnTo>
              </a:path>
            </a:pathLst>
          </a:custGeom>
          <a:noFill/>
          <a:ln w="107950" cap="rnd">
            <a:solidFill>
              <a:srgbClr val="FF0000"/>
            </a:solidFill>
            <a:prstDash val="solid"/>
            <a:round/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l-PL" sz="18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3" name="Freeform 9">
            <a:extLst>
              <a:ext uri="{FF2B5EF4-FFF2-40B4-BE49-F238E27FC236}">
                <a16:creationId xmlns:a16="http://schemas.microsoft.com/office/drawing/2014/main" id="{DF0D2C98-725E-488C-9175-2CDD84785F90}"/>
              </a:ext>
            </a:extLst>
          </p:cNvPr>
          <p:cNvSpPr>
            <a:spLocks/>
          </p:cNvSpPr>
          <p:nvPr/>
        </p:nvSpPr>
        <p:spPr bwMode="auto">
          <a:xfrm>
            <a:off x="1547664" y="2613014"/>
            <a:ext cx="5555219" cy="2565646"/>
          </a:xfrm>
          <a:custGeom>
            <a:avLst/>
            <a:gdLst>
              <a:gd name="T0" fmla="*/ 0 w 3990"/>
              <a:gd name="T1" fmla="*/ 1935 h 1935"/>
              <a:gd name="T2" fmla="*/ 145 w 3990"/>
              <a:gd name="T3" fmla="*/ 1935 h 1935"/>
              <a:gd name="T4" fmla="*/ 285 w 3990"/>
              <a:gd name="T5" fmla="*/ 1935 h 1935"/>
              <a:gd name="T6" fmla="*/ 430 w 3990"/>
              <a:gd name="T7" fmla="*/ 1935 h 1935"/>
              <a:gd name="T8" fmla="*/ 570 w 3990"/>
              <a:gd name="T9" fmla="*/ 1929 h 1935"/>
              <a:gd name="T10" fmla="*/ 715 w 3990"/>
              <a:gd name="T11" fmla="*/ 1917 h 1935"/>
              <a:gd name="T12" fmla="*/ 855 w 3990"/>
              <a:gd name="T13" fmla="*/ 1905 h 1935"/>
              <a:gd name="T14" fmla="*/ 1000 w 3990"/>
              <a:gd name="T15" fmla="*/ 1888 h 1935"/>
              <a:gd name="T16" fmla="*/ 1140 w 3990"/>
              <a:gd name="T17" fmla="*/ 1859 h 1935"/>
              <a:gd name="T18" fmla="*/ 1285 w 3990"/>
              <a:gd name="T19" fmla="*/ 1812 h 1935"/>
              <a:gd name="T20" fmla="*/ 1425 w 3990"/>
              <a:gd name="T21" fmla="*/ 1748 h 1935"/>
              <a:gd name="T22" fmla="*/ 1570 w 3990"/>
              <a:gd name="T23" fmla="*/ 1690 h 1935"/>
              <a:gd name="T24" fmla="*/ 1710 w 3990"/>
              <a:gd name="T25" fmla="*/ 1637 h 1935"/>
              <a:gd name="T26" fmla="*/ 1855 w 3990"/>
              <a:gd name="T27" fmla="*/ 1573 h 1935"/>
              <a:gd name="T28" fmla="*/ 1995 w 3990"/>
              <a:gd name="T29" fmla="*/ 1480 h 1935"/>
              <a:gd name="T30" fmla="*/ 2140 w 3990"/>
              <a:gd name="T31" fmla="*/ 1369 h 1935"/>
              <a:gd name="T32" fmla="*/ 2280 w 3990"/>
              <a:gd name="T33" fmla="*/ 1224 h 1935"/>
              <a:gd name="T34" fmla="*/ 2425 w 3990"/>
              <a:gd name="T35" fmla="*/ 1066 h 1935"/>
              <a:gd name="T36" fmla="*/ 2565 w 3990"/>
              <a:gd name="T37" fmla="*/ 891 h 1935"/>
              <a:gd name="T38" fmla="*/ 2710 w 3990"/>
              <a:gd name="T39" fmla="*/ 734 h 1935"/>
              <a:gd name="T40" fmla="*/ 2850 w 3990"/>
              <a:gd name="T41" fmla="*/ 565 h 1935"/>
              <a:gd name="T42" fmla="*/ 2995 w 3990"/>
              <a:gd name="T43" fmla="*/ 413 h 1935"/>
              <a:gd name="T44" fmla="*/ 3135 w 3990"/>
              <a:gd name="T45" fmla="*/ 320 h 1935"/>
              <a:gd name="T46" fmla="*/ 3280 w 3990"/>
              <a:gd name="T47" fmla="*/ 204 h 1935"/>
              <a:gd name="T48" fmla="*/ 3420 w 3990"/>
              <a:gd name="T49" fmla="*/ 128 h 1935"/>
              <a:gd name="T50" fmla="*/ 3565 w 3990"/>
              <a:gd name="T51" fmla="*/ 93 h 1935"/>
              <a:gd name="T52" fmla="*/ 3705 w 3990"/>
              <a:gd name="T53" fmla="*/ 52 h 1935"/>
              <a:gd name="T54" fmla="*/ 3850 w 3990"/>
              <a:gd name="T55" fmla="*/ 29 h 1935"/>
              <a:gd name="T56" fmla="*/ 3990 w 3990"/>
              <a:gd name="T57" fmla="*/ 0 h 1935"/>
              <a:gd name="connsiteX0" fmla="*/ 0 w 10643"/>
              <a:gd name="connsiteY0" fmla="*/ 10303 h 10303"/>
              <a:gd name="connsiteX1" fmla="*/ 363 w 10643"/>
              <a:gd name="connsiteY1" fmla="*/ 10303 h 10303"/>
              <a:gd name="connsiteX2" fmla="*/ 714 w 10643"/>
              <a:gd name="connsiteY2" fmla="*/ 10303 h 10303"/>
              <a:gd name="connsiteX3" fmla="*/ 1078 w 10643"/>
              <a:gd name="connsiteY3" fmla="*/ 10303 h 10303"/>
              <a:gd name="connsiteX4" fmla="*/ 1429 w 10643"/>
              <a:gd name="connsiteY4" fmla="*/ 10272 h 10303"/>
              <a:gd name="connsiteX5" fmla="*/ 1792 w 10643"/>
              <a:gd name="connsiteY5" fmla="*/ 10210 h 10303"/>
              <a:gd name="connsiteX6" fmla="*/ 2143 w 10643"/>
              <a:gd name="connsiteY6" fmla="*/ 10148 h 10303"/>
              <a:gd name="connsiteX7" fmla="*/ 2506 w 10643"/>
              <a:gd name="connsiteY7" fmla="*/ 10060 h 10303"/>
              <a:gd name="connsiteX8" fmla="*/ 2857 w 10643"/>
              <a:gd name="connsiteY8" fmla="*/ 9910 h 10303"/>
              <a:gd name="connsiteX9" fmla="*/ 3221 w 10643"/>
              <a:gd name="connsiteY9" fmla="*/ 9667 h 10303"/>
              <a:gd name="connsiteX10" fmla="*/ 3571 w 10643"/>
              <a:gd name="connsiteY10" fmla="*/ 9337 h 10303"/>
              <a:gd name="connsiteX11" fmla="*/ 3935 w 10643"/>
              <a:gd name="connsiteY11" fmla="*/ 9037 h 10303"/>
              <a:gd name="connsiteX12" fmla="*/ 4286 w 10643"/>
              <a:gd name="connsiteY12" fmla="*/ 8763 h 10303"/>
              <a:gd name="connsiteX13" fmla="*/ 4649 w 10643"/>
              <a:gd name="connsiteY13" fmla="*/ 8432 h 10303"/>
              <a:gd name="connsiteX14" fmla="*/ 5000 w 10643"/>
              <a:gd name="connsiteY14" fmla="*/ 7952 h 10303"/>
              <a:gd name="connsiteX15" fmla="*/ 5363 w 10643"/>
              <a:gd name="connsiteY15" fmla="*/ 7378 h 10303"/>
              <a:gd name="connsiteX16" fmla="*/ 5714 w 10643"/>
              <a:gd name="connsiteY16" fmla="*/ 6629 h 10303"/>
              <a:gd name="connsiteX17" fmla="*/ 6078 w 10643"/>
              <a:gd name="connsiteY17" fmla="*/ 5812 h 10303"/>
              <a:gd name="connsiteX18" fmla="*/ 6429 w 10643"/>
              <a:gd name="connsiteY18" fmla="*/ 4908 h 10303"/>
              <a:gd name="connsiteX19" fmla="*/ 6792 w 10643"/>
              <a:gd name="connsiteY19" fmla="*/ 4096 h 10303"/>
              <a:gd name="connsiteX20" fmla="*/ 7143 w 10643"/>
              <a:gd name="connsiteY20" fmla="*/ 3223 h 10303"/>
              <a:gd name="connsiteX21" fmla="*/ 7506 w 10643"/>
              <a:gd name="connsiteY21" fmla="*/ 2437 h 10303"/>
              <a:gd name="connsiteX22" fmla="*/ 7857 w 10643"/>
              <a:gd name="connsiteY22" fmla="*/ 1957 h 10303"/>
              <a:gd name="connsiteX23" fmla="*/ 8221 w 10643"/>
              <a:gd name="connsiteY23" fmla="*/ 1357 h 10303"/>
              <a:gd name="connsiteX24" fmla="*/ 8571 w 10643"/>
              <a:gd name="connsiteY24" fmla="*/ 964 h 10303"/>
              <a:gd name="connsiteX25" fmla="*/ 8935 w 10643"/>
              <a:gd name="connsiteY25" fmla="*/ 784 h 10303"/>
              <a:gd name="connsiteX26" fmla="*/ 9286 w 10643"/>
              <a:gd name="connsiteY26" fmla="*/ 572 h 10303"/>
              <a:gd name="connsiteX27" fmla="*/ 9649 w 10643"/>
              <a:gd name="connsiteY27" fmla="*/ 453 h 10303"/>
              <a:gd name="connsiteX28" fmla="*/ 10643 w 10643"/>
              <a:gd name="connsiteY28" fmla="*/ 0 h 10303"/>
              <a:gd name="connsiteX0" fmla="*/ 0 w 10643"/>
              <a:gd name="connsiteY0" fmla="*/ 10303 h 10303"/>
              <a:gd name="connsiteX1" fmla="*/ 363 w 10643"/>
              <a:gd name="connsiteY1" fmla="*/ 10303 h 10303"/>
              <a:gd name="connsiteX2" fmla="*/ 714 w 10643"/>
              <a:gd name="connsiteY2" fmla="*/ 10303 h 10303"/>
              <a:gd name="connsiteX3" fmla="*/ 1078 w 10643"/>
              <a:gd name="connsiteY3" fmla="*/ 10303 h 10303"/>
              <a:gd name="connsiteX4" fmla="*/ 1429 w 10643"/>
              <a:gd name="connsiteY4" fmla="*/ 10272 h 10303"/>
              <a:gd name="connsiteX5" fmla="*/ 1792 w 10643"/>
              <a:gd name="connsiteY5" fmla="*/ 10210 h 10303"/>
              <a:gd name="connsiteX6" fmla="*/ 2143 w 10643"/>
              <a:gd name="connsiteY6" fmla="*/ 10148 h 10303"/>
              <a:gd name="connsiteX7" fmla="*/ 2506 w 10643"/>
              <a:gd name="connsiteY7" fmla="*/ 10060 h 10303"/>
              <a:gd name="connsiteX8" fmla="*/ 2857 w 10643"/>
              <a:gd name="connsiteY8" fmla="*/ 9910 h 10303"/>
              <a:gd name="connsiteX9" fmla="*/ 3221 w 10643"/>
              <a:gd name="connsiteY9" fmla="*/ 9667 h 10303"/>
              <a:gd name="connsiteX10" fmla="*/ 3571 w 10643"/>
              <a:gd name="connsiteY10" fmla="*/ 9337 h 10303"/>
              <a:gd name="connsiteX11" fmla="*/ 3935 w 10643"/>
              <a:gd name="connsiteY11" fmla="*/ 9037 h 10303"/>
              <a:gd name="connsiteX12" fmla="*/ 4286 w 10643"/>
              <a:gd name="connsiteY12" fmla="*/ 8763 h 10303"/>
              <a:gd name="connsiteX13" fmla="*/ 4649 w 10643"/>
              <a:gd name="connsiteY13" fmla="*/ 8432 h 10303"/>
              <a:gd name="connsiteX14" fmla="*/ 5000 w 10643"/>
              <a:gd name="connsiteY14" fmla="*/ 7952 h 10303"/>
              <a:gd name="connsiteX15" fmla="*/ 5363 w 10643"/>
              <a:gd name="connsiteY15" fmla="*/ 7378 h 10303"/>
              <a:gd name="connsiteX16" fmla="*/ 5714 w 10643"/>
              <a:gd name="connsiteY16" fmla="*/ 6629 h 10303"/>
              <a:gd name="connsiteX17" fmla="*/ 6078 w 10643"/>
              <a:gd name="connsiteY17" fmla="*/ 5812 h 10303"/>
              <a:gd name="connsiteX18" fmla="*/ 6429 w 10643"/>
              <a:gd name="connsiteY18" fmla="*/ 4908 h 10303"/>
              <a:gd name="connsiteX19" fmla="*/ 6792 w 10643"/>
              <a:gd name="connsiteY19" fmla="*/ 4096 h 10303"/>
              <a:gd name="connsiteX20" fmla="*/ 7143 w 10643"/>
              <a:gd name="connsiteY20" fmla="*/ 3223 h 10303"/>
              <a:gd name="connsiteX21" fmla="*/ 7506 w 10643"/>
              <a:gd name="connsiteY21" fmla="*/ 2437 h 10303"/>
              <a:gd name="connsiteX22" fmla="*/ 7857 w 10643"/>
              <a:gd name="connsiteY22" fmla="*/ 1957 h 10303"/>
              <a:gd name="connsiteX23" fmla="*/ 8221 w 10643"/>
              <a:gd name="connsiteY23" fmla="*/ 1357 h 10303"/>
              <a:gd name="connsiteX24" fmla="*/ 8571 w 10643"/>
              <a:gd name="connsiteY24" fmla="*/ 964 h 10303"/>
              <a:gd name="connsiteX25" fmla="*/ 8935 w 10643"/>
              <a:gd name="connsiteY25" fmla="*/ 784 h 10303"/>
              <a:gd name="connsiteX26" fmla="*/ 9286 w 10643"/>
              <a:gd name="connsiteY26" fmla="*/ 572 h 10303"/>
              <a:gd name="connsiteX27" fmla="*/ 9649 w 10643"/>
              <a:gd name="connsiteY27" fmla="*/ 453 h 10303"/>
              <a:gd name="connsiteX28" fmla="*/ 10643 w 10643"/>
              <a:gd name="connsiteY28" fmla="*/ 0 h 10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0643" h="10303">
                <a:moveTo>
                  <a:pt x="0" y="10303"/>
                </a:moveTo>
                <a:lnTo>
                  <a:pt x="363" y="10303"/>
                </a:lnTo>
                <a:lnTo>
                  <a:pt x="714" y="10303"/>
                </a:lnTo>
                <a:lnTo>
                  <a:pt x="1078" y="10303"/>
                </a:lnTo>
                <a:lnTo>
                  <a:pt x="1429" y="10272"/>
                </a:lnTo>
                <a:lnTo>
                  <a:pt x="1792" y="10210"/>
                </a:lnTo>
                <a:lnTo>
                  <a:pt x="2143" y="10148"/>
                </a:lnTo>
                <a:lnTo>
                  <a:pt x="2506" y="10060"/>
                </a:lnTo>
                <a:lnTo>
                  <a:pt x="2857" y="9910"/>
                </a:lnTo>
                <a:lnTo>
                  <a:pt x="3221" y="9667"/>
                </a:lnTo>
                <a:lnTo>
                  <a:pt x="3571" y="9337"/>
                </a:lnTo>
                <a:lnTo>
                  <a:pt x="3935" y="9037"/>
                </a:lnTo>
                <a:lnTo>
                  <a:pt x="4286" y="8763"/>
                </a:lnTo>
                <a:lnTo>
                  <a:pt x="4649" y="8432"/>
                </a:lnTo>
                <a:lnTo>
                  <a:pt x="5000" y="7952"/>
                </a:lnTo>
                <a:lnTo>
                  <a:pt x="5363" y="7378"/>
                </a:lnTo>
                <a:lnTo>
                  <a:pt x="5714" y="6629"/>
                </a:lnTo>
                <a:lnTo>
                  <a:pt x="6078" y="5812"/>
                </a:lnTo>
                <a:lnTo>
                  <a:pt x="6429" y="4908"/>
                </a:lnTo>
                <a:lnTo>
                  <a:pt x="6792" y="4096"/>
                </a:lnTo>
                <a:lnTo>
                  <a:pt x="7143" y="3223"/>
                </a:lnTo>
                <a:lnTo>
                  <a:pt x="7506" y="2437"/>
                </a:lnTo>
                <a:lnTo>
                  <a:pt x="7857" y="1957"/>
                </a:lnTo>
                <a:lnTo>
                  <a:pt x="8221" y="1357"/>
                </a:lnTo>
                <a:lnTo>
                  <a:pt x="8571" y="964"/>
                </a:lnTo>
                <a:lnTo>
                  <a:pt x="8935" y="784"/>
                </a:lnTo>
                <a:lnTo>
                  <a:pt x="9286" y="572"/>
                </a:lnTo>
                <a:lnTo>
                  <a:pt x="9649" y="453"/>
                </a:lnTo>
                <a:cubicBezTo>
                  <a:pt x="9766" y="403"/>
                  <a:pt x="10526" y="50"/>
                  <a:pt x="10643" y="0"/>
                </a:cubicBezTo>
              </a:path>
            </a:pathLst>
          </a:custGeom>
          <a:noFill/>
          <a:ln w="107950" cap="rnd">
            <a:solidFill>
              <a:srgbClr val="FFFF00"/>
            </a:solidFill>
            <a:prstDash val="solid"/>
            <a:round/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l-PL" sz="18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9EA52DAC-709A-4302-ADD1-12CC4E4F2282}"/>
              </a:ext>
            </a:extLst>
          </p:cNvPr>
          <p:cNvGrpSpPr/>
          <p:nvPr/>
        </p:nvGrpSpPr>
        <p:grpSpPr>
          <a:xfrm>
            <a:off x="1204764" y="2653343"/>
            <a:ext cx="6762998" cy="3090270"/>
            <a:chOff x="2628901" y="2197100"/>
            <a:chExt cx="9017329" cy="4120358"/>
          </a:xfrm>
        </p:grpSpPr>
        <p:sp>
          <p:nvSpPr>
            <p:cNvPr id="61" name="Line 7">
              <a:extLst>
                <a:ext uri="{FF2B5EF4-FFF2-40B4-BE49-F238E27FC236}">
                  <a16:creationId xmlns:a16="http://schemas.microsoft.com/office/drawing/2014/main" id="{ECCC88AC-E594-4C3D-99B9-D6FC5B7C61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0213" y="5576888"/>
              <a:ext cx="6565900" cy="0"/>
            </a:xfrm>
            <a:prstGeom prst="line">
              <a:avLst/>
            </a:prstGeom>
            <a:noFill/>
            <a:ln w="9525" cap="flat">
              <a:solidFill>
                <a:srgbClr val="D9D9D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1800" b="1"/>
            </a:p>
          </p:txBody>
        </p:sp>
        <p:sp>
          <p:nvSpPr>
            <p:cNvPr id="64" name="Rectangle 10">
              <a:extLst>
                <a:ext uri="{FF2B5EF4-FFF2-40B4-BE49-F238E27FC236}">
                  <a16:creationId xmlns:a16="http://schemas.microsoft.com/office/drawing/2014/main" id="{14EE84D2-94D0-4BFA-A995-E689D8130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901" y="5505451"/>
              <a:ext cx="235107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 0,0</a:t>
              </a:r>
              <a:endParaRPr lang="pl-PL" altLang="pl-PL" sz="1800" b="1"/>
            </a:p>
          </p:txBody>
        </p:sp>
        <p:sp>
          <p:nvSpPr>
            <p:cNvPr id="65" name="Rectangle 11">
              <a:extLst>
                <a:ext uri="{FF2B5EF4-FFF2-40B4-BE49-F238E27FC236}">
                  <a16:creationId xmlns:a16="http://schemas.microsoft.com/office/drawing/2014/main" id="{C3457978-17A3-4A36-A449-57C755FA72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901" y="5092701"/>
              <a:ext cx="235107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 1,0</a:t>
              </a:r>
              <a:endParaRPr lang="pl-PL" altLang="pl-PL" sz="1800" b="1"/>
            </a:p>
          </p:txBody>
        </p:sp>
        <p:sp>
          <p:nvSpPr>
            <p:cNvPr id="66" name="Rectangle 12">
              <a:extLst>
                <a:ext uri="{FF2B5EF4-FFF2-40B4-BE49-F238E27FC236}">
                  <a16:creationId xmlns:a16="http://schemas.microsoft.com/office/drawing/2014/main" id="{71519F2D-FE93-45B3-B242-C031DFA19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901" y="4678362"/>
              <a:ext cx="235107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 2,0</a:t>
              </a:r>
              <a:endParaRPr lang="pl-PL" altLang="pl-PL" sz="1800" b="1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3C4DED8A-E6CF-4EA7-83F2-3BF8C407A4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901" y="4265612"/>
              <a:ext cx="235107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 3,0</a:t>
              </a:r>
              <a:endParaRPr lang="pl-PL" altLang="pl-PL" sz="1800" b="1"/>
            </a:p>
          </p:txBody>
        </p:sp>
        <p:sp>
          <p:nvSpPr>
            <p:cNvPr id="68" name="Rectangle 14">
              <a:extLst>
                <a:ext uri="{FF2B5EF4-FFF2-40B4-BE49-F238E27FC236}">
                  <a16:creationId xmlns:a16="http://schemas.microsoft.com/office/drawing/2014/main" id="{0009F718-D321-4D1C-8AB2-18879A6EA6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901" y="3851277"/>
              <a:ext cx="235107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 4,0</a:t>
              </a:r>
              <a:endParaRPr lang="pl-PL" altLang="pl-PL" sz="1800" b="1"/>
            </a:p>
          </p:txBody>
        </p:sp>
        <p:sp>
          <p:nvSpPr>
            <p:cNvPr id="69" name="Rectangle 15">
              <a:extLst>
                <a:ext uri="{FF2B5EF4-FFF2-40B4-BE49-F238E27FC236}">
                  <a16:creationId xmlns:a16="http://schemas.microsoft.com/office/drawing/2014/main" id="{3A46A9E4-5D08-4ADE-86BA-B467BA4E5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901" y="3440113"/>
              <a:ext cx="235107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 5,0</a:t>
              </a:r>
              <a:endParaRPr lang="pl-PL" altLang="pl-PL" sz="1800" b="1"/>
            </a:p>
          </p:txBody>
        </p:sp>
        <p:sp>
          <p:nvSpPr>
            <p:cNvPr id="70" name="Rectangle 16">
              <a:extLst>
                <a:ext uri="{FF2B5EF4-FFF2-40B4-BE49-F238E27FC236}">
                  <a16:creationId xmlns:a16="http://schemas.microsoft.com/office/drawing/2014/main" id="{5B51A4E2-4E85-4744-A485-60D8F45060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901" y="3024188"/>
              <a:ext cx="235107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 dirty="0"/>
                <a:t> 6,0</a:t>
              </a:r>
              <a:endParaRPr lang="pl-PL" altLang="pl-PL" sz="1800" b="1" dirty="0"/>
            </a:p>
          </p:txBody>
        </p:sp>
        <p:sp>
          <p:nvSpPr>
            <p:cNvPr id="71" name="Rectangle 17">
              <a:extLst>
                <a:ext uri="{FF2B5EF4-FFF2-40B4-BE49-F238E27FC236}">
                  <a16:creationId xmlns:a16="http://schemas.microsoft.com/office/drawing/2014/main" id="{D49A0497-13A0-49CF-9E0D-816AF5EBD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901" y="2613025"/>
              <a:ext cx="235107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 dirty="0"/>
                <a:t> 7,0</a:t>
              </a:r>
              <a:endParaRPr lang="pl-PL" altLang="pl-PL" sz="1800" b="1" dirty="0"/>
            </a:p>
          </p:txBody>
        </p:sp>
        <p:sp>
          <p:nvSpPr>
            <p:cNvPr id="72" name="Rectangle 18">
              <a:extLst>
                <a:ext uri="{FF2B5EF4-FFF2-40B4-BE49-F238E27FC236}">
                  <a16:creationId xmlns:a16="http://schemas.microsoft.com/office/drawing/2014/main" id="{DE08E247-8B82-4334-BA06-251A19177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901" y="2197100"/>
              <a:ext cx="235107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 8,0</a:t>
              </a:r>
              <a:endParaRPr lang="pl-PL" altLang="pl-PL" sz="1800" b="1"/>
            </a:p>
          </p:txBody>
        </p:sp>
        <p:sp>
          <p:nvSpPr>
            <p:cNvPr id="73" name="Rectangle 19">
              <a:extLst>
                <a:ext uri="{FF2B5EF4-FFF2-40B4-BE49-F238E27FC236}">
                  <a16:creationId xmlns:a16="http://schemas.microsoft.com/office/drawing/2014/main" id="{1B851223-CAE6-4D5C-A727-C75A41916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8464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1990</a:t>
              </a:r>
              <a:endParaRPr lang="pl-PL" altLang="pl-PL" sz="1800" b="1"/>
            </a:p>
          </p:txBody>
        </p:sp>
        <p:sp>
          <p:nvSpPr>
            <p:cNvPr id="74" name="Rectangle 20">
              <a:extLst>
                <a:ext uri="{FF2B5EF4-FFF2-40B4-BE49-F238E27FC236}">
                  <a16:creationId xmlns:a16="http://schemas.microsoft.com/office/drawing/2014/main" id="{6ECD55AA-485D-4EA0-B4B4-4A2E30C444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0901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1992</a:t>
              </a:r>
              <a:endParaRPr lang="pl-PL" altLang="pl-PL" sz="1800" b="1"/>
            </a:p>
          </p:txBody>
        </p:sp>
        <p:sp>
          <p:nvSpPr>
            <p:cNvPr id="75" name="Rectangle 21">
              <a:extLst>
                <a:ext uri="{FF2B5EF4-FFF2-40B4-BE49-F238E27FC236}">
                  <a16:creationId xmlns:a16="http://schemas.microsoft.com/office/drawing/2014/main" id="{880108C0-337C-4A64-8396-B3831A9241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3338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1994</a:t>
              </a:r>
              <a:endParaRPr lang="pl-PL" altLang="pl-PL" sz="1800" b="1"/>
            </a:p>
          </p:txBody>
        </p:sp>
        <p:sp>
          <p:nvSpPr>
            <p:cNvPr id="76" name="Rectangle 22">
              <a:extLst>
                <a:ext uri="{FF2B5EF4-FFF2-40B4-BE49-F238E27FC236}">
                  <a16:creationId xmlns:a16="http://schemas.microsoft.com/office/drawing/2014/main" id="{1AE87664-817F-400A-9B27-7311AE243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5775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1996</a:t>
              </a:r>
              <a:endParaRPr lang="pl-PL" altLang="pl-PL" sz="1800" b="1"/>
            </a:p>
          </p:txBody>
        </p:sp>
        <p:sp>
          <p:nvSpPr>
            <p:cNvPr id="77" name="Rectangle 23">
              <a:extLst>
                <a:ext uri="{FF2B5EF4-FFF2-40B4-BE49-F238E27FC236}">
                  <a16:creationId xmlns:a16="http://schemas.microsoft.com/office/drawing/2014/main" id="{4AB0EA22-791F-45FC-89D4-20BC586767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8213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1998</a:t>
              </a:r>
              <a:endParaRPr lang="pl-PL" altLang="pl-PL" sz="1800" b="1"/>
            </a:p>
          </p:txBody>
        </p:sp>
        <p:sp>
          <p:nvSpPr>
            <p:cNvPr id="78" name="Rectangle 24">
              <a:extLst>
                <a:ext uri="{FF2B5EF4-FFF2-40B4-BE49-F238E27FC236}">
                  <a16:creationId xmlns:a16="http://schemas.microsoft.com/office/drawing/2014/main" id="{4BB8B875-FFFC-4E38-866C-AC2BF44A6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2238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2000</a:t>
              </a:r>
              <a:endParaRPr lang="pl-PL" altLang="pl-PL" sz="1800" b="1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0B8F6CAF-E7BC-48EF-B3F4-ABE8D252D6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4675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2002</a:t>
              </a:r>
              <a:endParaRPr lang="pl-PL" altLang="pl-PL" sz="1800" b="1"/>
            </a:p>
          </p:txBody>
        </p:sp>
        <p:sp>
          <p:nvSpPr>
            <p:cNvPr id="80" name="Rectangle 26">
              <a:extLst>
                <a:ext uri="{FF2B5EF4-FFF2-40B4-BE49-F238E27FC236}">
                  <a16:creationId xmlns:a16="http://schemas.microsoft.com/office/drawing/2014/main" id="{288A9D99-BBA9-4E60-83E2-D59ADA348A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7112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2004</a:t>
              </a:r>
              <a:endParaRPr lang="pl-PL" altLang="pl-PL" sz="1800" b="1"/>
            </a:p>
          </p:txBody>
        </p:sp>
        <p:sp>
          <p:nvSpPr>
            <p:cNvPr id="81" name="Rectangle 27">
              <a:extLst>
                <a:ext uri="{FF2B5EF4-FFF2-40B4-BE49-F238E27FC236}">
                  <a16:creationId xmlns:a16="http://schemas.microsoft.com/office/drawing/2014/main" id="{D5057E6D-9E67-4159-98F9-99F88A6A7B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9551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2006</a:t>
              </a:r>
              <a:endParaRPr lang="pl-PL" altLang="pl-PL" sz="1800" b="1"/>
            </a:p>
          </p:txBody>
        </p:sp>
        <p:sp>
          <p:nvSpPr>
            <p:cNvPr id="82" name="Rectangle 28">
              <a:extLst>
                <a:ext uri="{FF2B5EF4-FFF2-40B4-BE49-F238E27FC236}">
                  <a16:creationId xmlns:a16="http://schemas.microsoft.com/office/drawing/2014/main" id="{A3175293-94EB-4B87-B6C4-A14C21BAA0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1990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2008</a:t>
              </a:r>
              <a:endParaRPr lang="pl-PL" altLang="pl-PL" sz="1800" b="1"/>
            </a:p>
          </p:txBody>
        </p:sp>
        <p:sp>
          <p:nvSpPr>
            <p:cNvPr id="83" name="Rectangle 29">
              <a:extLst>
                <a:ext uri="{FF2B5EF4-FFF2-40B4-BE49-F238E27FC236}">
                  <a16:creationId xmlns:a16="http://schemas.microsoft.com/office/drawing/2014/main" id="{B6F8BE46-57D9-495A-BE2D-77437FCA1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4426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2010</a:t>
              </a:r>
              <a:endParaRPr lang="pl-PL" altLang="pl-PL" sz="1800" b="1"/>
            </a:p>
          </p:txBody>
        </p:sp>
        <p:sp>
          <p:nvSpPr>
            <p:cNvPr id="84" name="Rectangle 30">
              <a:extLst>
                <a:ext uri="{FF2B5EF4-FFF2-40B4-BE49-F238E27FC236}">
                  <a16:creationId xmlns:a16="http://schemas.microsoft.com/office/drawing/2014/main" id="{76AC87FF-45BC-4D57-A4F3-C40043DEE2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6863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2012</a:t>
              </a:r>
              <a:endParaRPr lang="pl-PL" altLang="pl-PL" sz="1800" b="1"/>
            </a:p>
          </p:txBody>
        </p:sp>
        <p:sp>
          <p:nvSpPr>
            <p:cNvPr id="85" name="Rectangle 31">
              <a:extLst>
                <a:ext uri="{FF2B5EF4-FFF2-40B4-BE49-F238E27FC236}">
                  <a16:creationId xmlns:a16="http://schemas.microsoft.com/office/drawing/2014/main" id="{2F9DBE46-B1E3-41E2-B6D3-DB805FD6CF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9300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2014</a:t>
              </a:r>
              <a:endParaRPr lang="pl-PL" altLang="pl-PL" sz="1800" b="1"/>
            </a:p>
          </p:txBody>
        </p:sp>
        <p:sp>
          <p:nvSpPr>
            <p:cNvPr id="86" name="Rectangle 32">
              <a:extLst>
                <a:ext uri="{FF2B5EF4-FFF2-40B4-BE49-F238E27FC236}">
                  <a16:creationId xmlns:a16="http://schemas.microsoft.com/office/drawing/2014/main" id="{496A6A65-86A0-4726-95E9-AD145FAAC2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1739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/>
                <a:t>2016</a:t>
              </a:r>
              <a:endParaRPr lang="pl-PL" altLang="pl-PL" sz="1800" b="1"/>
            </a:p>
          </p:txBody>
        </p:sp>
        <p:sp>
          <p:nvSpPr>
            <p:cNvPr id="87" name="Rectangle 33">
              <a:extLst>
                <a:ext uri="{FF2B5EF4-FFF2-40B4-BE49-F238E27FC236}">
                  <a16:creationId xmlns:a16="http://schemas.microsoft.com/office/drawing/2014/main" id="{5E9FA05E-45BC-4571-BFC4-723DA34428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4176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 dirty="0"/>
                <a:t>2018</a:t>
              </a:r>
              <a:endParaRPr lang="pl-PL" altLang="pl-PL" sz="1800" b="1" dirty="0"/>
            </a:p>
          </p:txBody>
        </p:sp>
        <p:sp>
          <p:nvSpPr>
            <p:cNvPr id="89" name="Rectangle 35">
              <a:extLst>
                <a:ext uri="{FF2B5EF4-FFF2-40B4-BE49-F238E27FC236}">
                  <a16:creationId xmlns:a16="http://schemas.microsoft.com/office/drawing/2014/main" id="{B7E4A43F-76DF-4E5F-B0C7-967415C49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78833" y="5948126"/>
              <a:ext cx="266739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endParaRPr lang="pl-PL" altLang="pl-PL" sz="900" b="1" dirty="0">
                <a:cs typeface="Arial" panose="020B0604020202020204" pitchFamily="34" charset="0"/>
              </a:endParaRPr>
            </a:p>
            <a:p>
              <a:pPr defTabSz="685783"/>
              <a:r>
                <a:rPr lang="pl-PL" altLang="pl-PL" sz="900" b="1" dirty="0">
                  <a:cs typeface="Arial" panose="020B0604020202020204" pitchFamily="34" charset="0"/>
                </a:rPr>
                <a:t>                                    Źródło: </a:t>
              </a:r>
              <a:r>
                <a:rPr lang="pl-PL" altLang="pl-PL" sz="900" b="1" dirty="0" err="1">
                  <a:cs typeface="Arial" panose="020B0604020202020204" pitchFamily="34" charset="0"/>
                </a:rPr>
                <a:t>Statista</a:t>
              </a:r>
              <a:endParaRPr lang="pl-PL" altLang="pl-PL" sz="1800" b="1" dirty="0">
                <a:cs typeface="Arial" panose="020B0604020202020204" pitchFamily="34" charset="0"/>
              </a:endParaRPr>
            </a:p>
          </p:txBody>
        </p:sp>
        <p:sp>
          <p:nvSpPr>
            <p:cNvPr id="40" name="Rectangle 33">
              <a:extLst>
                <a:ext uri="{FF2B5EF4-FFF2-40B4-BE49-F238E27FC236}">
                  <a16:creationId xmlns:a16="http://schemas.microsoft.com/office/drawing/2014/main" id="{53A3D43F-99B6-40FF-A57B-9BCB0914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31376" y="5673724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 dirty="0"/>
                <a:t>2020</a:t>
              </a:r>
              <a:endParaRPr lang="pl-PL" altLang="pl-PL" sz="1800" b="1" dirty="0"/>
            </a:p>
          </p:txBody>
        </p:sp>
        <p:sp>
          <p:nvSpPr>
            <p:cNvPr id="4" name="Rectangle 33">
              <a:extLst>
                <a:ext uri="{FF2B5EF4-FFF2-40B4-BE49-F238E27FC236}">
                  <a16:creationId xmlns:a16="http://schemas.microsoft.com/office/drawing/2014/main" id="{8D94E1A1-04E4-9BAA-7C93-3A53B7E782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76733" y="5677249"/>
              <a:ext cx="316325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783"/>
              <a:r>
                <a:rPr lang="pl-PL" altLang="pl-PL" sz="825" b="1" dirty="0"/>
                <a:t>2022</a:t>
              </a:r>
              <a:endParaRPr lang="pl-PL" altLang="pl-PL" sz="1800" b="1" dirty="0"/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1F9B6436-F4B5-4E3F-83F1-01F878E28377}"/>
              </a:ext>
            </a:extLst>
          </p:cNvPr>
          <p:cNvSpPr txBox="1"/>
          <p:nvPr/>
        </p:nvSpPr>
        <p:spPr>
          <a:xfrm>
            <a:off x="5372330" y="3320256"/>
            <a:ext cx="9685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2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elefony</a:t>
            </a:r>
            <a:br>
              <a:rPr lang="pl-PL" sz="12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2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komórkow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D813DC1-05C3-4FE8-8489-0915D13C2547}"/>
              </a:ext>
            </a:extLst>
          </p:cNvPr>
          <p:cNvSpPr txBox="1"/>
          <p:nvPr/>
        </p:nvSpPr>
        <p:spPr>
          <a:xfrm>
            <a:off x="5252412" y="4365988"/>
            <a:ext cx="10374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Użytkownicy</a:t>
            </a:r>
            <a:br>
              <a:rPr lang="pl-PL" sz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200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nternetu</a:t>
            </a:r>
            <a:endParaRPr lang="pl-PL" sz="12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3BB4FF93-C482-4F42-8521-57BC48E5E667}"/>
              </a:ext>
            </a:extLst>
          </p:cNvPr>
          <p:cNvSpPr txBox="1"/>
          <p:nvPr/>
        </p:nvSpPr>
        <p:spPr>
          <a:xfrm>
            <a:off x="2048163" y="3464416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800" dirty="0">
                <a:solidFill>
                  <a:schemeClr val="accent4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Ludność świata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02D48F99-1B82-4B7C-9F66-82C652CAB2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281" y="1520223"/>
            <a:ext cx="8229600" cy="487446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8" name="Rectangle 2">
            <a:extLst>
              <a:ext uri="{FF2B5EF4-FFF2-40B4-BE49-F238E27FC236}">
                <a16:creationId xmlns:a16="http://schemas.microsoft.com/office/drawing/2014/main" id="{84EEC971-13D4-4A4D-9BC8-20252DCFE576}"/>
              </a:ext>
            </a:extLst>
          </p:cNvPr>
          <p:cNvSpPr txBox="1">
            <a:spLocks noChangeArrowheads="1"/>
          </p:cNvSpPr>
          <p:nvPr/>
        </p:nvSpPr>
        <p:spPr>
          <a:xfrm>
            <a:off x="773238" y="1347796"/>
            <a:ext cx="8507164" cy="6375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  <a:defRPr/>
            </a:pPr>
            <a:endParaRPr lang="pl-PL" sz="2400" dirty="0">
              <a:ln w="3175" cmpd="sng">
                <a:noFill/>
              </a:ln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C3178E2-F9DA-DCD0-4282-6F9BA5856B72}"/>
              </a:ext>
            </a:extLst>
          </p:cNvPr>
          <p:cNvSpPr txBox="1">
            <a:spLocks/>
          </p:cNvSpPr>
          <p:nvPr/>
        </p:nvSpPr>
        <p:spPr bwMode="auto">
          <a:xfrm>
            <a:off x="1167824" y="411467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9pPr>
          </a:lstStyle>
          <a:p>
            <a:pPr algn="l">
              <a:lnSpc>
                <a:spcPct val="80000"/>
              </a:lnSpc>
              <a:defRPr/>
            </a:pPr>
            <a:r>
              <a:rPr lang="pl-PL" sz="4400" dirty="0">
                <a:ln w="3175" cmpd="sng">
                  <a:noFill/>
                </a:ln>
                <a:solidFill>
                  <a:srgbClr val="FF0000"/>
                </a:solidFill>
              </a:rPr>
              <a:t>Ogromne tempo zmian technologicznych …</a:t>
            </a:r>
          </a:p>
        </p:txBody>
      </p:sp>
    </p:spTree>
    <p:extLst>
      <p:ext uri="{BB962C8B-B14F-4D97-AF65-F5344CB8AC3E}">
        <p14:creationId xmlns:p14="http://schemas.microsoft.com/office/powerpoint/2010/main" val="1981734952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mph" presetSubtype="0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indefinite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2" dur="indefinite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0" grpId="1" animBg="1"/>
      <p:bldP spid="62" grpId="0" animBg="1"/>
      <p:bldP spid="63" grpId="0" animBg="1"/>
      <p:bldP spid="91" grpId="0"/>
      <p:bldP spid="92" grpId="0"/>
      <p:bldP spid="9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C82FD65-C932-4D1D-8CB4-BC05C4647E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C82FD65-C932-4D1D-8CB4-BC05C4647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5A3EA73-1C36-470F-A68C-113984F9F6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8219CE8D-073A-4492-A627-D3D16016E67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7229" y="4421835"/>
            <a:ext cx="2028825" cy="995413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grpSp>
        <p:nvGrpSpPr>
          <p:cNvPr id="93" name="Group 92">
            <a:extLst>
              <a:ext uri="{FF2B5EF4-FFF2-40B4-BE49-F238E27FC236}">
                <a16:creationId xmlns:a16="http://schemas.microsoft.com/office/drawing/2014/main" id="{5F84F3A9-E543-4FBC-81EC-E8EB9F06F7EB}"/>
              </a:ext>
            </a:extLst>
          </p:cNvPr>
          <p:cNvGrpSpPr/>
          <p:nvPr/>
        </p:nvGrpSpPr>
        <p:grpSpPr>
          <a:xfrm>
            <a:off x="6819903" y="2369198"/>
            <a:ext cx="2080021" cy="3048050"/>
            <a:chOff x="8975727" y="2103438"/>
            <a:chExt cx="2773361" cy="4064067"/>
          </a:xfrm>
        </p:grpSpPr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000DAA18-A996-47A1-9A68-2D3055D87F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975727" y="2103438"/>
              <a:ext cx="2773361" cy="4064067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/>
            </a:sp3d>
          </p:spPr>
        </p:pic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603263C5-7D97-4DBB-9955-C958A5AE8642}"/>
                </a:ext>
              </a:extLst>
            </p:cNvPr>
            <p:cNvGrpSpPr/>
            <p:nvPr/>
          </p:nvGrpSpPr>
          <p:grpSpPr>
            <a:xfrm>
              <a:off x="9305610" y="2718816"/>
              <a:ext cx="1121809" cy="1121809"/>
              <a:chOff x="9351264" y="2749230"/>
              <a:chExt cx="978915" cy="978915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C6C1B76-226E-4D0E-8595-531A6F65D64C}"/>
                  </a:ext>
                </a:extLst>
              </p:cNvPr>
              <p:cNvSpPr/>
              <p:nvPr/>
            </p:nvSpPr>
            <p:spPr>
              <a:xfrm>
                <a:off x="9528669" y="2926635"/>
                <a:ext cx="624104" cy="624104"/>
              </a:xfrm>
              <a:prstGeom prst="ellipse">
                <a:avLst/>
              </a:prstGeom>
              <a:noFill/>
              <a:ln w="28575">
                <a:solidFill>
                  <a:schemeClr val="accent2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200"/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E6FC99D-EF8A-47A8-B042-AA08D6FF7A0D}"/>
                  </a:ext>
                </a:extLst>
              </p:cNvPr>
              <p:cNvSpPr/>
              <p:nvPr/>
            </p:nvSpPr>
            <p:spPr>
              <a:xfrm>
                <a:off x="9430989" y="2828955"/>
                <a:ext cx="819464" cy="819464"/>
              </a:xfrm>
              <a:prstGeom prst="ellipse">
                <a:avLst/>
              </a:prstGeom>
              <a:noFill/>
              <a:ln w="19050">
                <a:solidFill>
                  <a:schemeClr val="accent2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200"/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86F3A9D7-2288-4B37-A8CD-F06A778EA8F6}"/>
                  </a:ext>
                </a:extLst>
              </p:cNvPr>
              <p:cNvSpPr/>
              <p:nvPr/>
            </p:nvSpPr>
            <p:spPr>
              <a:xfrm>
                <a:off x="9351264" y="2749230"/>
                <a:ext cx="978915" cy="978915"/>
              </a:xfrm>
              <a:prstGeom prst="ellipse">
                <a:avLst/>
              </a:prstGeom>
              <a:noFill/>
              <a:ln w="6350">
                <a:solidFill>
                  <a:schemeClr val="accent2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200"/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4433C731-F14E-4F3C-8C8B-BADC15C9BB64}"/>
                </a:ext>
              </a:extLst>
            </p:cNvPr>
            <p:cNvGrpSpPr/>
            <p:nvPr/>
          </p:nvGrpSpPr>
          <p:grpSpPr>
            <a:xfrm>
              <a:off x="10064238" y="4536302"/>
              <a:ext cx="631689" cy="631689"/>
              <a:chOff x="9351264" y="2749230"/>
              <a:chExt cx="978915" cy="978915"/>
            </a:xfrm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4602FF49-A761-461A-B0C8-0BE3AD6DF24D}"/>
                  </a:ext>
                </a:extLst>
              </p:cNvPr>
              <p:cNvSpPr/>
              <p:nvPr/>
            </p:nvSpPr>
            <p:spPr>
              <a:xfrm>
                <a:off x="9528669" y="2926635"/>
                <a:ext cx="624104" cy="624104"/>
              </a:xfrm>
              <a:prstGeom prst="ellipse">
                <a:avLst/>
              </a:prstGeom>
              <a:noFill/>
              <a:ln w="28575">
                <a:solidFill>
                  <a:schemeClr val="accent2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200"/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FFE035D7-C890-4321-843F-D6DDB1CD39EE}"/>
                  </a:ext>
                </a:extLst>
              </p:cNvPr>
              <p:cNvSpPr/>
              <p:nvPr/>
            </p:nvSpPr>
            <p:spPr>
              <a:xfrm>
                <a:off x="9430989" y="2828955"/>
                <a:ext cx="819464" cy="819464"/>
              </a:xfrm>
              <a:prstGeom prst="ellipse">
                <a:avLst/>
              </a:prstGeom>
              <a:noFill/>
              <a:ln w="19050">
                <a:solidFill>
                  <a:schemeClr val="accent2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2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C97E10EE-DC65-4FBE-B39D-10B9CC76EFC8}"/>
                  </a:ext>
                </a:extLst>
              </p:cNvPr>
              <p:cNvSpPr/>
              <p:nvPr/>
            </p:nvSpPr>
            <p:spPr>
              <a:xfrm>
                <a:off x="9351264" y="2749230"/>
                <a:ext cx="978915" cy="978915"/>
              </a:xfrm>
              <a:prstGeom prst="ellipse">
                <a:avLst/>
              </a:prstGeom>
              <a:noFill/>
              <a:ln w="6350">
                <a:solidFill>
                  <a:schemeClr val="accent2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200"/>
              </a:p>
            </p:txBody>
          </p:sp>
        </p:grpSp>
      </p:grpSp>
      <p:pic>
        <p:nvPicPr>
          <p:cNvPr id="82" name="Picture 81">
            <a:extLst>
              <a:ext uri="{FF2B5EF4-FFF2-40B4-BE49-F238E27FC236}">
                <a16:creationId xmlns:a16="http://schemas.microsoft.com/office/drawing/2014/main" id="{3FDA6425-8B5A-44E8-A83B-7E0A27EAA36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4557" y="2369198"/>
            <a:ext cx="2027239" cy="1000478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DD70B2BB-0F37-4EBE-B8AC-FAB2DFDBE59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6832" y="2369199"/>
            <a:ext cx="2028824" cy="994171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EEAFD2CE-E11F-4D60-90B5-DA9C63970E79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0292" y="2369199"/>
            <a:ext cx="2076053" cy="304805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482DD6B-A389-47F0-8FA1-5B6B12E5A111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4161" y="4416771"/>
            <a:ext cx="2027634" cy="1000478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15" name="AutoShape 16">
            <a:extLst>
              <a:ext uri="{FF2B5EF4-FFF2-40B4-BE49-F238E27FC236}">
                <a16:creationId xmlns:a16="http://schemas.microsoft.com/office/drawing/2014/main" id="{AE022246-235C-4BBD-9C9C-D63597C957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45807" y="3249069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l-PL" sz="18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3C336B2-ADBA-4388-AB2A-2DF31E668555}"/>
              </a:ext>
            </a:extLst>
          </p:cNvPr>
          <p:cNvSpPr/>
          <p:nvPr/>
        </p:nvSpPr>
        <p:spPr>
          <a:xfrm>
            <a:off x="1296021" y="3436130"/>
            <a:ext cx="6728172" cy="910607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>
            <a:spAutoFit/>
          </a:bodyPr>
          <a:lstStyle/>
          <a:p>
            <a:pPr algn="ctr"/>
            <a:r>
              <a:rPr lang="pl-PL" sz="4500" dirty="0">
                <a:solidFill>
                  <a:srgbClr val="FF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IV Rewolucja Przemysłowa</a:t>
            </a:r>
          </a:p>
        </p:txBody>
      </p:sp>
      <p:sp>
        <p:nvSpPr>
          <p:cNvPr id="22" name="Rectangle 2">
            <a:extLst>
              <a:ext uri="{FF2B5EF4-FFF2-40B4-BE49-F238E27FC236}">
                <a16:creationId xmlns:a16="http://schemas.microsoft.com/office/drawing/2014/main" id="{259339D7-2C37-4539-B51D-B8F884ED60BF}"/>
              </a:ext>
            </a:extLst>
          </p:cNvPr>
          <p:cNvSpPr txBox="1">
            <a:spLocks noChangeArrowheads="1"/>
          </p:cNvSpPr>
          <p:nvPr/>
        </p:nvSpPr>
        <p:spPr>
          <a:xfrm>
            <a:off x="773238" y="1347796"/>
            <a:ext cx="8507164" cy="6375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  <a:defRPr/>
            </a:pPr>
            <a:endParaRPr lang="pl-PL" sz="2400" dirty="0">
              <a:ln w="3175" cmpd="sng">
                <a:noFill/>
              </a:ln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36CFFC1-8ACA-94F4-BFD0-054D27F2C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824" y="411467"/>
            <a:ext cx="7772400" cy="1143000"/>
          </a:xfrm>
        </p:spPr>
        <p:txBody>
          <a:bodyPr/>
          <a:lstStyle/>
          <a:p>
            <a:r>
              <a:rPr lang="pl-PL" dirty="0">
                <a:solidFill>
                  <a:srgbClr val="FF0000"/>
                </a:solidFill>
              </a:rPr>
              <a:t>Rewolucyjne zmiany</a:t>
            </a:r>
          </a:p>
        </p:txBody>
      </p:sp>
    </p:spTree>
    <p:extLst>
      <p:ext uri="{BB962C8B-B14F-4D97-AF65-F5344CB8AC3E}">
        <p14:creationId xmlns:p14="http://schemas.microsoft.com/office/powerpoint/2010/main" val="405261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" presetClass="emph" presetSubtype="2" autoRev="1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2" dur="3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B2B"/>
                                      </p:to>
                                    </p:animClr>
                                    <p:set>
                                      <p:cBhvr>
                                        <p:cTn id="33" dur="3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4" dur="3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E58AE60-1B62-4848-9D11-80720751C27F}"/>
              </a:ext>
            </a:extLst>
          </p:cNvPr>
          <p:cNvCxnSpPr/>
          <p:nvPr/>
        </p:nvCxnSpPr>
        <p:spPr>
          <a:xfrm>
            <a:off x="1152142" y="2614876"/>
            <a:ext cx="762227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>
            <a:extLst>
              <a:ext uri="{FF2B5EF4-FFF2-40B4-BE49-F238E27FC236}">
                <a16:creationId xmlns:a16="http://schemas.microsoft.com/office/drawing/2014/main" id="{8A9E51B0-D4A2-44DB-91CA-BF7206F2F3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52538" y="2505384"/>
            <a:ext cx="3735083" cy="279770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D225171-4A7B-4AEB-A4A8-519A8E4A8C88}"/>
              </a:ext>
            </a:extLst>
          </p:cNvPr>
          <p:cNvSpPr txBox="1">
            <a:spLocks/>
          </p:cNvSpPr>
          <p:nvPr/>
        </p:nvSpPr>
        <p:spPr>
          <a:xfrm>
            <a:off x="1779033" y="2244811"/>
            <a:ext cx="6411006" cy="260573"/>
          </a:xfrm>
          <a:prstGeom prst="rect">
            <a:avLst/>
          </a:prstGeom>
        </p:spPr>
        <p:txBody>
          <a:bodyPr>
            <a:normAutofit fontScale="52500" lnSpcReduction="20000"/>
          </a:bodyPr>
          <a:lstStyle>
            <a:lvl1pPr algn="l" defTabSz="7679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9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pl-PL" sz="2933"/>
              <a:t> </a:t>
            </a:r>
            <a:endParaRPr lang="en-US" sz="2933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268F5CD6-803A-49DC-A561-444702A85225}"/>
              </a:ext>
            </a:extLst>
          </p:cNvPr>
          <p:cNvSpPr txBox="1">
            <a:spLocks noChangeArrowheads="1"/>
          </p:cNvSpPr>
          <p:nvPr/>
        </p:nvSpPr>
        <p:spPr>
          <a:xfrm>
            <a:off x="904610" y="778319"/>
            <a:ext cx="8491059" cy="506058"/>
          </a:xfrm>
        </p:spPr>
        <p:txBody>
          <a:bodyPr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1600">
                <a:solidFill>
                  <a:schemeClr val="tx1"/>
                </a:solidFill>
                <a:latin typeface="+mj-lt"/>
                <a:ea typeface="+mj-ea"/>
                <a:cs typeface="+mj-cs"/>
                <a:sym typeface="Gill Sans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11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11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11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11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11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11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11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11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l" eaLnBrk="1" hangingPunct="1">
              <a:defRPr/>
            </a:pPr>
            <a:r>
              <a:rPr kumimoji="1" lang="pl-PL" sz="4000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o to wszystko oznacza w gospodarce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C10989-217D-43AC-BCF2-17F001F2E602}"/>
              </a:ext>
            </a:extLst>
          </p:cNvPr>
          <p:cNvSpPr txBox="1"/>
          <p:nvPr/>
        </p:nvSpPr>
        <p:spPr>
          <a:xfrm>
            <a:off x="518950" y="2522391"/>
            <a:ext cx="3462474" cy="1313493"/>
          </a:xfrm>
          <a:prstGeom prst="rect">
            <a:avLst/>
          </a:prstGeom>
          <a:solidFill>
            <a:srgbClr val="FF0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142869" tIns="85721" rIns="142869" bIns="85721" numCol="1" rtlCol="0">
            <a:spAutoFit/>
          </a:bodyPr>
          <a:lstStyle/>
          <a:p>
            <a:pPr algn="ctr"/>
            <a:r>
              <a:rPr lang="pl-PL" sz="1482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sument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mieniające się oczekiwania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mieniające się sposoby komunikacji/</a:t>
            </a:r>
            <a:b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analiza informacji/Big Data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tarcie do klien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1A35AA-179A-4AEE-B9B5-0B5A1BF5843A}"/>
              </a:ext>
            </a:extLst>
          </p:cNvPr>
          <p:cNvSpPr txBox="1"/>
          <p:nvPr/>
        </p:nvSpPr>
        <p:spPr>
          <a:xfrm>
            <a:off x="5417588" y="2522390"/>
            <a:ext cx="3423416" cy="1313493"/>
          </a:xfrm>
          <a:prstGeom prst="rect">
            <a:avLst/>
          </a:prstGeom>
          <a:solidFill>
            <a:srgbClr val="00B05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42869" tIns="85721" rIns="142869" bIns="85721" numCol="1" rtlCol="0">
            <a:spAutoFit/>
          </a:bodyPr>
          <a:lstStyle/>
          <a:p>
            <a:pPr algn="ctr"/>
            <a:r>
              <a:rPr lang="pl-PL" sz="1482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ślące przedmioty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ntegrowane produkty i usługi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izacja, indywidualizacja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spodziewana konkurencj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6AF996-37A7-46F0-87DC-E569932EC8CC}"/>
              </a:ext>
            </a:extLst>
          </p:cNvPr>
          <p:cNvSpPr txBox="1"/>
          <p:nvPr/>
        </p:nvSpPr>
        <p:spPr>
          <a:xfrm>
            <a:off x="5507811" y="4230730"/>
            <a:ext cx="2789209" cy="1313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200017" tIns="85721" rIns="200017" bIns="85721" numCol="1" rtlCol="0">
            <a:spAutoFit/>
          </a:bodyPr>
          <a:lstStyle/>
          <a:p>
            <a:pPr algn="ctr"/>
            <a:r>
              <a:rPr lang="pl-PL" sz="1482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ytwarzanie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miany technologiczne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miany konkurencyjności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we kanały dystrybucji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miana modeli biznesowyc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30FA13-8ABD-4014-A82E-5FBB28C5FC1A}"/>
              </a:ext>
            </a:extLst>
          </p:cNvPr>
          <p:cNvSpPr txBox="1"/>
          <p:nvPr/>
        </p:nvSpPr>
        <p:spPr>
          <a:xfrm>
            <a:off x="1193615" y="4252764"/>
            <a:ext cx="2999203" cy="1313493"/>
          </a:xfrm>
          <a:prstGeom prst="rect">
            <a:avLst/>
          </a:prstGeom>
          <a:solidFill>
            <a:srgbClr val="FFFF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200017" tIns="85721" rIns="200017" bIns="85721" numCol="1" rtlCol="0">
            <a:spAutoFit/>
          </a:bodyPr>
          <a:lstStyle/>
          <a:p>
            <a:pPr algn="ctr"/>
            <a:r>
              <a:rPr lang="pl-PL" sz="1482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ństwo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raniczone możliwości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kurencja 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wi gracze (np. </a:t>
            </a:r>
            <a:r>
              <a:rPr lang="pl-PL" sz="1482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yptowaluty</a:t>
            </a:r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pl-PL" sz="1482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finansów państwa</a:t>
            </a:r>
          </a:p>
        </p:txBody>
      </p:sp>
    </p:spTree>
    <p:extLst>
      <p:ext uri="{BB962C8B-B14F-4D97-AF65-F5344CB8AC3E}">
        <p14:creationId xmlns:p14="http://schemas.microsoft.com/office/powerpoint/2010/main" val="33547391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D48F9A1-5818-E653-C2D1-C69358615E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4771" y="1950350"/>
            <a:ext cx="5035090" cy="33037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857A98-6EC3-1137-9DC4-39BF498D24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9948" y="2081183"/>
            <a:ext cx="4501801" cy="319134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2098" name="Rectangle 2">
            <a:extLst>
              <a:ext uri="{FF2B5EF4-FFF2-40B4-BE49-F238E27FC236}">
                <a16:creationId xmlns:a16="http://schemas.microsoft.com/office/drawing/2014/main" id="{1F375C5A-0461-B681-F94B-954A04D1477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206500" y="376238"/>
            <a:ext cx="7493000" cy="1143000"/>
          </a:xfrm>
        </p:spPr>
        <p:txBody>
          <a:bodyPr/>
          <a:lstStyle/>
          <a:p>
            <a:pPr>
              <a:defRPr/>
            </a:pPr>
            <a:r>
              <a:rPr lang="pl-PL" sz="3600" dirty="0">
                <a:solidFill>
                  <a:srgbClr val="FF0000"/>
                </a:solidFill>
              </a:rPr>
              <a:t>Nie tylko roboty przemysłowe…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C8F14A-64B9-B172-B80A-DD7B701ED7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1415" y="2081183"/>
            <a:ext cx="4501802" cy="300325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63FA4CD-4C68-E53A-DD27-91A052D1FD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7728" y="2152244"/>
            <a:ext cx="4501801" cy="331088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80" name="Picture 8" descr="What is the meaning of the 1976 film Taxi Driver? - New Statesman">
            <a:extLst>
              <a:ext uri="{FF2B5EF4-FFF2-40B4-BE49-F238E27FC236}">
                <a16:creationId xmlns:a16="http://schemas.microsoft.com/office/drawing/2014/main" id="{6CDBE8B6-9A16-1B63-4F0F-C8AAD669C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161" y="4526791"/>
            <a:ext cx="2841591" cy="2085807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Autonomous vehicles at night | ADAS &amp; Autonomous Vehicle International">
            <a:extLst>
              <a:ext uri="{FF2B5EF4-FFF2-40B4-BE49-F238E27FC236}">
                <a16:creationId xmlns:a16="http://schemas.microsoft.com/office/drawing/2014/main" id="{28D51882-F0F7-601E-8743-FB189FA9EF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939" y="4526791"/>
            <a:ext cx="3400700" cy="2085807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2F126A-82F5-3901-424B-65773C7052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26992" y="4151870"/>
            <a:ext cx="4063410" cy="270613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82" name="Picture 10" descr="New McDonald's In Phoenix Run Entirely By Robots - News Examiner">
            <a:extLst>
              <a:ext uri="{FF2B5EF4-FFF2-40B4-BE49-F238E27FC236}">
                <a16:creationId xmlns:a16="http://schemas.microsoft.com/office/drawing/2014/main" id="{C03AEE9D-7155-D198-FCEF-67C51D689E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100" y="4180743"/>
            <a:ext cx="3786705" cy="256476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E0911D2-23CE-FAFE-578D-420827BF781F}"/>
              </a:ext>
            </a:extLst>
          </p:cNvPr>
          <p:cNvSpPr txBox="1"/>
          <p:nvPr/>
        </p:nvSpPr>
        <p:spPr>
          <a:xfrm>
            <a:off x="7175157" y="6617044"/>
            <a:ext cx="17700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>
                <a:latin typeface="Arial" panose="020B0604020202020204" pitchFamily="34" charset="0"/>
                <a:cs typeface="Arial" panose="020B0604020202020204" pitchFamily="34" charset="0"/>
              </a:rPr>
              <a:t>Źródło: </a:t>
            </a:r>
            <a:r>
              <a:rPr lang="pl-PL" sz="1000" dirty="0" err="1">
                <a:latin typeface="Arial" panose="020B0604020202020204" pitchFamily="34" charset="0"/>
                <a:cs typeface="Arial" panose="020B0604020202020204" pitchFamily="34" charset="0"/>
              </a:rPr>
              <a:t>wikimedia,commons</a:t>
            </a:r>
            <a:endParaRPr lang="pl-PL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500"/>
                                        <p:tgtEl>
                                          <p:spTgt spid="3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D177F4-3511-370E-8501-879CB32C8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FF0000"/>
                </a:solidFill>
              </a:rPr>
              <a:t>Jak to wpłynie na globalne łańcuchy dostaw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85B68A-5014-3D06-A74B-2D4C3C7BD9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l-PL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grożenia geopolityczne</a:t>
            </a:r>
          </a:p>
          <a:p>
            <a:r>
              <a:rPr lang="pl-PL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gożenia</a:t>
            </a:r>
            <a:r>
              <a:rPr lang="pl-PL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la globalizacji</a:t>
            </a:r>
          </a:p>
          <a:p>
            <a:r>
              <a:rPr lang="pl-PL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grożenia dla rozwoju</a:t>
            </a:r>
          </a:p>
          <a:p>
            <a:r>
              <a:rPr lang="pl-PL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miany technologiczne</a:t>
            </a:r>
          </a:p>
        </p:txBody>
      </p:sp>
    </p:spTree>
    <p:extLst>
      <p:ext uri="{BB962C8B-B14F-4D97-AF65-F5344CB8AC3E}">
        <p14:creationId xmlns:p14="http://schemas.microsoft.com/office/powerpoint/2010/main" val="2826893627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DD12F-015B-E72C-1BAF-193B7444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FF0000"/>
                </a:solidFill>
              </a:rPr>
              <a:t>Świat w roku 2000</a:t>
            </a:r>
          </a:p>
        </p:txBody>
      </p:sp>
      <p:pic>
        <p:nvPicPr>
          <p:cNvPr id="1026" name="Picture 2" descr="main product photo">
            <a:extLst>
              <a:ext uri="{FF2B5EF4-FFF2-40B4-BE49-F238E27FC236}">
                <a16:creationId xmlns:a16="http://schemas.microsoft.com/office/drawing/2014/main" id="{1EF0EA98-0C28-FFCF-D54C-C28F81AF76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921" y="2004969"/>
            <a:ext cx="7772400" cy="471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FB11ACE-7E10-3973-733E-7B42607CB1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999" b="97151" l="8900" r="90000">
                        <a14:foregroundMark x1="9400" y1="68066" x2="8900" y2="80360"/>
                        <a14:foregroundMark x1="71700" y1="8696" x2="71700" y2="10345"/>
                        <a14:foregroundMark x1="86700" y1="3148" x2="86700" y2="8546"/>
                        <a14:foregroundMark x1="11300" y1="97151" x2="12700" y2="9280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07559" y="3051038"/>
            <a:ext cx="1702965" cy="654933"/>
          </a:xfrm>
          <a:prstGeom prst="rect">
            <a:avLst/>
          </a:prstGeom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4787EF0A-5BD9-615E-2641-8FF04D5E2053}"/>
              </a:ext>
            </a:extLst>
          </p:cNvPr>
          <p:cNvGrpSpPr/>
          <p:nvPr/>
        </p:nvGrpSpPr>
        <p:grpSpPr>
          <a:xfrm>
            <a:off x="5105399" y="3488868"/>
            <a:ext cx="2088073" cy="1262889"/>
            <a:chOff x="5105399" y="3488868"/>
            <a:chExt cx="2088073" cy="1262889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BA9793C-B33B-6D18-A2DC-B3349D855E2A}"/>
                </a:ext>
              </a:extLst>
            </p:cNvPr>
            <p:cNvSpPr/>
            <p:nvPr/>
          </p:nvSpPr>
          <p:spPr bwMode="auto">
            <a:xfrm>
              <a:off x="5105399" y="3599939"/>
              <a:ext cx="2046914" cy="1151818"/>
            </a:xfrm>
            <a:custGeom>
              <a:avLst/>
              <a:gdLst>
                <a:gd name="connsiteX0" fmla="*/ 2097248 w 2097248"/>
                <a:gd name="connsiteY0" fmla="*/ 687897 h 1154874"/>
                <a:gd name="connsiteX1" fmla="*/ 1518408 w 2097248"/>
                <a:gd name="connsiteY1" fmla="*/ 1149292 h 1154874"/>
                <a:gd name="connsiteX2" fmla="*/ 536896 w 2097248"/>
                <a:gd name="connsiteY2" fmla="*/ 880844 h 1154874"/>
                <a:gd name="connsiteX3" fmla="*/ 0 w 2097248"/>
                <a:gd name="connsiteY3" fmla="*/ 0 h 1154874"/>
                <a:gd name="connsiteX0" fmla="*/ 2097248 w 2139737"/>
                <a:gd name="connsiteY0" fmla="*/ 687897 h 1150975"/>
                <a:gd name="connsiteX1" fmla="*/ 2100743 w 2139737"/>
                <a:gd name="connsiteY1" fmla="*/ 787503 h 1150975"/>
                <a:gd name="connsiteX2" fmla="*/ 1518408 w 2139737"/>
                <a:gd name="connsiteY2" fmla="*/ 1149292 h 1150975"/>
                <a:gd name="connsiteX3" fmla="*/ 536896 w 2139737"/>
                <a:gd name="connsiteY3" fmla="*/ 880844 h 1150975"/>
                <a:gd name="connsiteX4" fmla="*/ 0 w 2139737"/>
                <a:gd name="connsiteY4" fmla="*/ 0 h 1150975"/>
                <a:gd name="connsiteX0" fmla="*/ 2046914 w 2131170"/>
                <a:gd name="connsiteY0" fmla="*/ 444617 h 1150975"/>
                <a:gd name="connsiteX1" fmla="*/ 2100743 w 2131170"/>
                <a:gd name="connsiteY1" fmla="*/ 787503 h 1150975"/>
                <a:gd name="connsiteX2" fmla="*/ 1518408 w 2131170"/>
                <a:gd name="connsiteY2" fmla="*/ 1149292 h 1150975"/>
                <a:gd name="connsiteX3" fmla="*/ 536896 w 2131170"/>
                <a:gd name="connsiteY3" fmla="*/ 880844 h 1150975"/>
                <a:gd name="connsiteX4" fmla="*/ 0 w 2131170"/>
                <a:gd name="connsiteY4" fmla="*/ 0 h 1150975"/>
                <a:gd name="connsiteX0" fmla="*/ 2088859 w 2137988"/>
                <a:gd name="connsiteY0" fmla="*/ 520117 h 1150975"/>
                <a:gd name="connsiteX1" fmla="*/ 2100743 w 2137988"/>
                <a:gd name="connsiteY1" fmla="*/ 787503 h 1150975"/>
                <a:gd name="connsiteX2" fmla="*/ 1518408 w 2137988"/>
                <a:gd name="connsiteY2" fmla="*/ 1149292 h 1150975"/>
                <a:gd name="connsiteX3" fmla="*/ 536896 w 2137988"/>
                <a:gd name="connsiteY3" fmla="*/ 880844 h 1150975"/>
                <a:gd name="connsiteX4" fmla="*/ 0 w 2137988"/>
                <a:gd name="connsiteY4" fmla="*/ 0 h 1150975"/>
                <a:gd name="connsiteX0" fmla="*/ 2088859 w 2088859"/>
                <a:gd name="connsiteY0" fmla="*/ 520117 h 1151818"/>
                <a:gd name="connsiteX1" fmla="*/ 1932963 w 2088859"/>
                <a:gd name="connsiteY1" fmla="*/ 762336 h 1151818"/>
                <a:gd name="connsiteX2" fmla="*/ 1518408 w 2088859"/>
                <a:gd name="connsiteY2" fmla="*/ 1149292 h 1151818"/>
                <a:gd name="connsiteX3" fmla="*/ 536896 w 2088859"/>
                <a:gd name="connsiteY3" fmla="*/ 880844 h 1151818"/>
                <a:gd name="connsiteX4" fmla="*/ 0 w 2088859"/>
                <a:gd name="connsiteY4" fmla="*/ 0 h 1151818"/>
                <a:gd name="connsiteX0" fmla="*/ 2046914 w 2046914"/>
                <a:gd name="connsiteY0" fmla="*/ 520117 h 1151818"/>
                <a:gd name="connsiteX1" fmla="*/ 1932963 w 2046914"/>
                <a:gd name="connsiteY1" fmla="*/ 762336 h 1151818"/>
                <a:gd name="connsiteX2" fmla="*/ 1518408 w 2046914"/>
                <a:gd name="connsiteY2" fmla="*/ 1149292 h 1151818"/>
                <a:gd name="connsiteX3" fmla="*/ 536896 w 2046914"/>
                <a:gd name="connsiteY3" fmla="*/ 880844 h 1151818"/>
                <a:gd name="connsiteX4" fmla="*/ 0 w 2046914"/>
                <a:gd name="connsiteY4" fmla="*/ 0 h 1151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6914" h="1151818">
                  <a:moveTo>
                    <a:pt x="2046914" y="520117"/>
                  </a:moveTo>
                  <a:cubicBezTo>
                    <a:pt x="2032117" y="538116"/>
                    <a:pt x="2029436" y="685437"/>
                    <a:pt x="1932963" y="762336"/>
                  </a:cubicBezTo>
                  <a:cubicBezTo>
                    <a:pt x="1836490" y="839235"/>
                    <a:pt x="1751086" y="1129541"/>
                    <a:pt x="1518408" y="1149292"/>
                  </a:cubicBezTo>
                  <a:cubicBezTo>
                    <a:pt x="1285730" y="1169043"/>
                    <a:pt x="789964" y="1072393"/>
                    <a:pt x="536896" y="880844"/>
                  </a:cubicBezTo>
                  <a:cubicBezTo>
                    <a:pt x="283828" y="689295"/>
                    <a:pt x="141914" y="344647"/>
                    <a:pt x="0" y="0"/>
                  </a:cubicBezTo>
                </a:path>
              </a:pathLst>
            </a:custGeom>
            <a:noFill/>
            <a:ln w="857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l-PL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19B9445-D4A2-33D8-FFCE-77B9B7885952}"/>
                </a:ext>
              </a:extLst>
            </p:cNvPr>
            <p:cNvSpPr/>
            <p:nvPr/>
          </p:nvSpPr>
          <p:spPr bwMode="auto">
            <a:xfrm>
              <a:off x="5105400" y="3599939"/>
              <a:ext cx="1983297" cy="424128"/>
            </a:xfrm>
            <a:custGeom>
              <a:avLst/>
              <a:gdLst>
                <a:gd name="connsiteX0" fmla="*/ 2097248 w 2097248"/>
                <a:gd name="connsiteY0" fmla="*/ 687897 h 1154874"/>
                <a:gd name="connsiteX1" fmla="*/ 1518408 w 2097248"/>
                <a:gd name="connsiteY1" fmla="*/ 1149292 h 1154874"/>
                <a:gd name="connsiteX2" fmla="*/ 536896 w 2097248"/>
                <a:gd name="connsiteY2" fmla="*/ 880844 h 1154874"/>
                <a:gd name="connsiteX3" fmla="*/ 0 w 2097248"/>
                <a:gd name="connsiteY3" fmla="*/ 0 h 1154874"/>
                <a:gd name="connsiteX0" fmla="*/ 1870745 w 1870745"/>
                <a:gd name="connsiteY0" fmla="*/ 864066 h 1149362"/>
                <a:gd name="connsiteX1" fmla="*/ 1518408 w 1870745"/>
                <a:gd name="connsiteY1" fmla="*/ 1149292 h 1149362"/>
                <a:gd name="connsiteX2" fmla="*/ 536896 w 1870745"/>
                <a:gd name="connsiteY2" fmla="*/ 880844 h 1149362"/>
                <a:gd name="connsiteX3" fmla="*/ 0 w 1870745"/>
                <a:gd name="connsiteY3" fmla="*/ 0 h 1149362"/>
                <a:gd name="connsiteX0" fmla="*/ 1870745 w 1870745"/>
                <a:gd name="connsiteY0" fmla="*/ 864066 h 960458"/>
                <a:gd name="connsiteX1" fmla="*/ 1090569 w 1870745"/>
                <a:gd name="connsiteY1" fmla="*/ 855678 h 960458"/>
                <a:gd name="connsiteX2" fmla="*/ 536896 w 1870745"/>
                <a:gd name="connsiteY2" fmla="*/ 880844 h 960458"/>
                <a:gd name="connsiteX3" fmla="*/ 0 w 1870745"/>
                <a:gd name="connsiteY3" fmla="*/ 0 h 960458"/>
                <a:gd name="connsiteX0" fmla="*/ 1870745 w 1870745"/>
                <a:gd name="connsiteY0" fmla="*/ 864066 h 966624"/>
                <a:gd name="connsiteX1" fmla="*/ 1090569 w 1870745"/>
                <a:gd name="connsiteY1" fmla="*/ 855678 h 966624"/>
                <a:gd name="connsiteX2" fmla="*/ 478173 w 1870745"/>
                <a:gd name="connsiteY2" fmla="*/ 620785 h 966624"/>
                <a:gd name="connsiteX3" fmla="*/ 0 w 1870745"/>
                <a:gd name="connsiteY3" fmla="*/ 0 h 966624"/>
                <a:gd name="connsiteX0" fmla="*/ 1711354 w 1711354"/>
                <a:gd name="connsiteY0" fmla="*/ 419449 h 522007"/>
                <a:gd name="connsiteX1" fmla="*/ 931178 w 1711354"/>
                <a:gd name="connsiteY1" fmla="*/ 411061 h 522007"/>
                <a:gd name="connsiteX2" fmla="*/ 318782 w 1711354"/>
                <a:gd name="connsiteY2" fmla="*/ 176168 h 522007"/>
                <a:gd name="connsiteX3" fmla="*/ 0 w 1711354"/>
                <a:gd name="connsiteY3" fmla="*/ 0 h 522007"/>
                <a:gd name="connsiteX0" fmla="*/ 1711354 w 1711354"/>
                <a:gd name="connsiteY0" fmla="*/ 419449 h 488535"/>
                <a:gd name="connsiteX1" fmla="*/ 880844 w 1711354"/>
                <a:gd name="connsiteY1" fmla="*/ 243281 h 488535"/>
                <a:gd name="connsiteX2" fmla="*/ 318782 w 1711354"/>
                <a:gd name="connsiteY2" fmla="*/ 176168 h 488535"/>
                <a:gd name="connsiteX3" fmla="*/ 0 w 1711354"/>
                <a:gd name="connsiteY3" fmla="*/ 0 h 488535"/>
                <a:gd name="connsiteX0" fmla="*/ 1711354 w 1711354"/>
                <a:gd name="connsiteY0" fmla="*/ 419449 h 489940"/>
                <a:gd name="connsiteX1" fmla="*/ 880844 w 1711354"/>
                <a:gd name="connsiteY1" fmla="*/ 243281 h 489940"/>
                <a:gd name="connsiteX2" fmla="*/ 218114 w 1711354"/>
                <a:gd name="connsiteY2" fmla="*/ 109056 h 489940"/>
                <a:gd name="connsiteX3" fmla="*/ 0 w 1711354"/>
                <a:gd name="connsiteY3" fmla="*/ 0 h 489940"/>
                <a:gd name="connsiteX0" fmla="*/ 1744910 w 1744910"/>
                <a:gd name="connsiteY0" fmla="*/ 355471 h 425962"/>
                <a:gd name="connsiteX1" fmla="*/ 914400 w 1744910"/>
                <a:gd name="connsiteY1" fmla="*/ 179303 h 425962"/>
                <a:gd name="connsiteX2" fmla="*/ 251670 w 1744910"/>
                <a:gd name="connsiteY2" fmla="*/ 45078 h 425962"/>
                <a:gd name="connsiteX3" fmla="*/ 0 w 1744910"/>
                <a:gd name="connsiteY3" fmla="*/ 11523 h 425962"/>
                <a:gd name="connsiteX0" fmla="*/ 1744910 w 1744910"/>
                <a:gd name="connsiteY0" fmla="*/ 355471 h 424128"/>
                <a:gd name="connsiteX1" fmla="*/ 914400 w 1744910"/>
                <a:gd name="connsiteY1" fmla="*/ 179303 h 424128"/>
                <a:gd name="connsiteX2" fmla="*/ 641059 w 1744910"/>
                <a:gd name="connsiteY2" fmla="*/ 133162 h 424128"/>
                <a:gd name="connsiteX3" fmla="*/ 251670 w 1744910"/>
                <a:gd name="connsiteY3" fmla="*/ 45078 h 424128"/>
                <a:gd name="connsiteX4" fmla="*/ 0 w 1744910"/>
                <a:gd name="connsiteY4" fmla="*/ 11523 h 42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4910" h="424128">
                  <a:moveTo>
                    <a:pt x="1744910" y="355471"/>
                  </a:moveTo>
                  <a:cubicBezTo>
                    <a:pt x="1585519" y="570089"/>
                    <a:pt x="1098375" y="216355"/>
                    <a:pt x="914400" y="179303"/>
                  </a:cubicBezTo>
                  <a:cubicBezTo>
                    <a:pt x="730425" y="142252"/>
                    <a:pt x="751514" y="155533"/>
                    <a:pt x="641059" y="133162"/>
                  </a:cubicBezTo>
                  <a:cubicBezTo>
                    <a:pt x="530604" y="110791"/>
                    <a:pt x="364106" y="72342"/>
                    <a:pt x="251670" y="45078"/>
                  </a:cubicBezTo>
                  <a:cubicBezTo>
                    <a:pt x="-1398" y="-146471"/>
                    <a:pt x="141914" y="356170"/>
                    <a:pt x="0" y="11523"/>
                  </a:cubicBezTo>
                </a:path>
              </a:pathLst>
            </a:custGeom>
            <a:noFill/>
            <a:ln w="857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l-PL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538E421D-A1E7-8752-1042-8B4E92F93F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953" b="89100" l="7843" r="94118">
                          <a14:foregroundMark x1="91830" y1="61848" x2="90523" y2="75829"/>
                          <a14:foregroundMark x1="94281" y1="58768" x2="92810" y2="65403"/>
                          <a14:foregroundMark x1="9314" y1="64218" x2="9314" y2="64218"/>
                          <a14:foregroundMark x1="11928" y1="77488" x2="11928" y2="77488"/>
                          <a14:foregroundMark x1="11928" y1="77251" x2="12092" y2="74882"/>
                          <a14:foregroundMark x1="7843" y1="78199" x2="8170" y2="73460"/>
                          <a14:foregroundMark x1="12418" y1="79858" x2="11601" y2="71564"/>
                          <a14:foregroundMark x1="11275" y1="74171" x2="12418" y2="79147"/>
                          <a14:foregroundMark x1="16830" y1="80095" x2="16830" y2="75118"/>
                          <a14:foregroundMark x1="20098" y1="79384" x2="18791" y2="74171"/>
                          <a14:foregroundMark x1="45915" y1="80332" x2="45752" y2="73460"/>
                          <a14:foregroundMark x1="52288" y1="80569" x2="48856" y2="71327"/>
                          <a14:foregroundMark x1="63889" y1="82701" x2="63399" y2="75355"/>
                          <a14:foregroundMark x1="75000" y1="82227" x2="75163" y2="76777"/>
                          <a14:backgroundMark x1="82026" y1="29621" x2="73856" y2="33649"/>
                          <a14:backgroundMark x1="73856" y1="33649" x2="17647" y2="38389"/>
                          <a14:backgroundMark x1="17647" y1="38389" x2="11275" y2="36019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flipH="1">
              <a:off x="5528782" y="3488868"/>
              <a:ext cx="1664690" cy="1147874"/>
            </a:xfrm>
            <a:prstGeom prst="rect">
              <a:avLst/>
            </a:prstGeom>
          </p:spPr>
        </p:pic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77D7B551-BB99-4334-1ECA-FD61DF8C9E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11270" y="3051038"/>
            <a:ext cx="1811663" cy="179157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50" name="Picture 2" descr="World's GDP Growth By Region 2022 - Global Finance Magazine">
            <a:extLst>
              <a:ext uri="{FF2B5EF4-FFF2-40B4-BE49-F238E27FC236}">
                <a16:creationId xmlns:a16="http://schemas.microsoft.com/office/drawing/2014/main" id="{73A83B78-4BC7-3360-B038-8118871862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1825" y="4859146"/>
            <a:ext cx="2902591" cy="15188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2EAA04F-033A-850E-EBE5-38C2690CF7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036" b="89209" l="9915" r="89915">
                        <a14:foregroundMark x1="19829" y1="17266" x2="22735" y2="35612"/>
                        <a14:foregroundMark x1="22735" y1="35612" x2="26838" y2="17266"/>
                        <a14:foregroundMark x1="26838" y1="17266" x2="31453" y2="33094"/>
                        <a14:foregroundMark x1="31453" y1="33094" x2="34872" y2="14748"/>
                        <a14:foregroundMark x1="18291" y1="10432" x2="18291" y2="10432"/>
                        <a14:foregroundMark x1="42222" y1="9353" x2="42222" y2="9353"/>
                        <a14:foregroundMark x1="59829" y1="6835" x2="59829" y2="6835"/>
                        <a14:foregroundMark x1="71453" y1="5036" x2="71453" y2="5036"/>
                        <a14:foregroundMark x1="75556" y1="68705" x2="78462" y2="77698"/>
                        <a14:foregroundMark x1="71795" y1="75540" x2="75214" y2="87050"/>
                        <a14:backgroundMark x1="28376" y1="36691" x2="28547" y2="47122"/>
                        <a14:backgroundMark x1="50085" y1="33813" x2="51111" y2="4244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952494" y="2371391"/>
            <a:ext cx="3535129" cy="1679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382574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24360B8-7113-40C0-8CE5-56974ABB271B}"/>
              </a:ext>
            </a:extLst>
          </p:cNvPr>
          <p:cNvSpPr/>
          <p:nvPr/>
        </p:nvSpPr>
        <p:spPr>
          <a:xfrm>
            <a:off x="0" y="5513168"/>
            <a:ext cx="9144000" cy="501978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2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89459F-D50A-491D-9F62-B93E7E7D7C8E}"/>
              </a:ext>
            </a:extLst>
          </p:cNvPr>
          <p:cNvSpPr/>
          <p:nvPr/>
        </p:nvSpPr>
        <p:spPr>
          <a:xfrm>
            <a:off x="8806240" y="857250"/>
            <a:ext cx="337760" cy="4655918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2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F35F1F4-79EC-4937-8111-636EDB6F406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986192" y="1894303"/>
            <a:ext cx="5590958" cy="386574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A5D217A-3454-4775-8B7B-507F74B7BBA5}"/>
              </a:ext>
            </a:extLst>
          </p:cNvPr>
          <p:cNvSpPr txBox="1"/>
          <p:nvPr/>
        </p:nvSpPr>
        <p:spPr>
          <a:xfrm>
            <a:off x="7789217" y="5760051"/>
            <a:ext cx="99706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SzPct val="100000"/>
            </a:pPr>
            <a:r>
              <a:rPr lang="pl-PL" sz="900" dirty="0">
                <a:solidFill>
                  <a:schemeClr val="bg1"/>
                </a:solidFill>
              </a:rPr>
              <a:t>Źródło: </a:t>
            </a:r>
            <a:r>
              <a:rPr lang="pl-PL" sz="900" dirty="0" err="1">
                <a:solidFill>
                  <a:schemeClr val="bg1"/>
                </a:solidFill>
              </a:rPr>
              <a:t>GED_Project</a:t>
            </a:r>
            <a:endParaRPr lang="pl-PL" sz="9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445224-6919-44EF-AA55-26A6CF643F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800" y="3364838"/>
            <a:ext cx="2936352" cy="1942887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16F5AB0F-B5F7-4B15-8CE3-F523A4E1FDFC}"/>
              </a:ext>
            </a:extLst>
          </p:cNvPr>
          <p:cNvSpPr/>
          <p:nvPr/>
        </p:nvSpPr>
        <p:spPr>
          <a:xfrm>
            <a:off x="5500784" y="3384310"/>
            <a:ext cx="561773" cy="577646"/>
          </a:xfrm>
          <a:prstGeom prst="ellipse">
            <a:avLst/>
          </a:prstGeom>
          <a:solidFill>
            <a:srgbClr val="FFB600">
              <a:alpha val="37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3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ECBBC56-1DF9-44B0-A46E-62D1B91C5BD4}"/>
              </a:ext>
            </a:extLst>
          </p:cNvPr>
          <p:cNvSpPr txBox="1"/>
          <p:nvPr/>
        </p:nvSpPr>
        <p:spPr>
          <a:xfrm>
            <a:off x="5647018" y="3575712"/>
            <a:ext cx="41036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SzPct val="100000"/>
            </a:pPr>
            <a:r>
              <a:rPr lang="pl-PL" sz="16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%</a:t>
            </a:r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785A8283-C030-4743-8339-570D3E92CC22}"/>
              </a:ext>
            </a:extLst>
          </p:cNvPr>
          <p:cNvSpPr txBox="1">
            <a:spLocks/>
          </p:cNvSpPr>
          <p:nvPr/>
        </p:nvSpPr>
        <p:spPr>
          <a:xfrm>
            <a:off x="1277634" y="742640"/>
            <a:ext cx="6588732" cy="104894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hangingPunct="0">
              <a:lnSpc>
                <a:spcPct val="80000"/>
              </a:lnSpc>
              <a:defRPr/>
            </a:pPr>
            <a:r>
              <a:rPr kumimoji="1" lang="pl-PL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sym typeface="Gill Sans" charset="0"/>
              </a:rPr>
              <a:t>Globalizacja…</a:t>
            </a:r>
          </a:p>
        </p:txBody>
      </p:sp>
    </p:spTree>
    <p:extLst>
      <p:ext uri="{BB962C8B-B14F-4D97-AF65-F5344CB8AC3E}">
        <p14:creationId xmlns:p14="http://schemas.microsoft.com/office/powerpoint/2010/main" val="2872552298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3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3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3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" grpId="0" animBg="1"/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4B545D-733D-C593-DF96-85E2A95FE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FF0000"/>
                </a:solidFill>
              </a:rPr>
              <a:t>Światowe  łańcuchy dostaw</a:t>
            </a:r>
          </a:p>
        </p:txBody>
      </p:sp>
      <p:pic>
        <p:nvPicPr>
          <p:cNvPr id="3" name="Picture 2" descr="Global shipping map">
            <a:extLst>
              <a:ext uri="{FF2B5EF4-FFF2-40B4-BE49-F238E27FC236}">
                <a16:creationId xmlns:a16="http://schemas.microsoft.com/office/drawing/2014/main" id="{11710B97-4845-9F30-CD38-15AEBB785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9468" y="2178991"/>
            <a:ext cx="5679879" cy="425990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352439358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DD12F-015B-E72C-1BAF-193B7444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FF0000"/>
                </a:solidFill>
              </a:rPr>
              <a:t>Świat w roku 2024</a:t>
            </a:r>
          </a:p>
        </p:txBody>
      </p:sp>
      <p:pic>
        <p:nvPicPr>
          <p:cNvPr id="1026" name="Picture 2" descr="main product photo">
            <a:extLst>
              <a:ext uri="{FF2B5EF4-FFF2-40B4-BE49-F238E27FC236}">
                <a16:creationId xmlns:a16="http://schemas.microsoft.com/office/drawing/2014/main" id="{1EF0EA98-0C28-FFCF-D54C-C28F81AF76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921" y="2004969"/>
            <a:ext cx="7772400" cy="471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E61E1159-BDDA-8714-4FF5-FDCC18BFBEDF}"/>
              </a:ext>
            </a:extLst>
          </p:cNvPr>
          <p:cNvGrpSpPr/>
          <p:nvPr/>
        </p:nvGrpSpPr>
        <p:grpSpPr>
          <a:xfrm>
            <a:off x="7306811" y="3682765"/>
            <a:ext cx="978714" cy="988215"/>
            <a:chOff x="6632894" y="3551352"/>
            <a:chExt cx="2768367" cy="278065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0FA0585-C0BD-4C00-082B-D40C82E6EAE3}"/>
                </a:ext>
              </a:extLst>
            </p:cNvPr>
            <p:cNvGrpSpPr/>
            <p:nvPr/>
          </p:nvGrpSpPr>
          <p:grpSpPr>
            <a:xfrm>
              <a:off x="6983540" y="3551352"/>
              <a:ext cx="2067077" cy="1105350"/>
              <a:chOff x="6983540" y="3551352"/>
              <a:chExt cx="2067077" cy="1105350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6257EC89-2464-4816-2A77-FD1807E08D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983540" y="3551352"/>
                <a:ext cx="2067077" cy="1105350"/>
              </a:xfrm>
              <a:prstGeom prst="roundRect">
                <a:avLst>
                  <a:gd name="adj" fmla="val 4167"/>
                </a:avLst>
              </a:prstGeom>
              <a:solidFill>
                <a:srgbClr val="FFFFFF"/>
              </a:solidFill>
              <a:ln w="76200" cap="sq">
                <a:solidFill>
                  <a:srgbClr val="292929"/>
                </a:solidFill>
                <a:miter lim="800000"/>
              </a:ln>
              <a:effectLst>
                <a:reflection blurRad="12700" stA="28000" endPos="28000" dist="5000" dir="5400000" sy="-100000" algn="bl" rotWithShape="0"/>
              </a:effectLst>
              <a:scene3d>
                <a:camera prst="orthographicFront"/>
                <a:lightRig rig="threePt" dir="t">
                  <a:rot lat="0" lon="0" rev="2700000"/>
                </a:lightRig>
              </a:scene3d>
              <a:sp3d>
                <a:bevelT h="38100"/>
                <a:contourClr>
                  <a:srgbClr val="C0C0C0"/>
                </a:contourClr>
              </a:sp3d>
            </p:spPr>
          </p:pic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CA9CDBED-BCBB-2FE3-5C9A-33C6BB4C4C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086305" y="3640559"/>
                <a:ext cx="602012" cy="377261"/>
              </a:xfrm>
              <a:prstGeom prst="rect">
                <a:avLst/>
              </a:prstGeom>
              <a:ln>
                <a:noFill/>
              </a:ln>
              <a:effectLst/>
            </p:spPr>
          </p:pic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20F4C7F-3362-397B-372F-CC8434F8565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4206" b="96262" l="9896" r="93750">
                          <a14:foregroundMark x1="54297" y1="7165" x2="51693" y2="23676"/>
                          <a14:foregroundMark x1="51693" y1="23676" x2="67839" y2="9346"/>
                          <a14:foregroundMark x1="67839" y1="9346" x2="67839" y2="9346"/>
                          <a14:foregroundMark x1="56120" y1="4984" x2="62500" y2="6386"/>
                          <a14:foregroundMark x1="51823" y1="4517" x2="51042" y2="7477"/>
                          <a14:foregroundMark x1="50260" y1="10280" x2="48828" y2="13396"/>
                          <a14:foregroundMark x1="49609" y1="12150" x2="49740" y2="20717"/>
                          <a14:foregroundMark x1="49740" y1="20717" x2="56380" y2="27103"/>
                          <a14:foregroundMark x1="56380" y1="27103" x2="52604" y2="49844"/>
                          <a14:foregroundMark x1="52604" y1="49844" x2="56380" y2="25857"/>
                          <a14:foregroundMark x1="56380" y1="25857" x2="49870" y2="49688"/>
                          <a14:foregroundMark x1="49870" y1="49688" x2="49740" y2="49688"/>
                          <a14:foregroundMark x1="50781" y1="57632" x2="52734" y2="52025"/>
                          <a14:foregroundMark x1="36589" y1="66355" x2="33333" y2="42679"/>
                          <a14:foregroundMark x1="33333" y1="42679" x2="33464" y2="42212"/>
                          <a14:foregroundMark x1="38802" y1="65265" x2="38021" y2="62305"/>
                          <a14:foregroundMark x1="19401" y1="89564" x2="25260" y2="96262"/>
                          <a14:foregroundMark x1="25260" y1="96262" x2="30339" y2="91433"/>
                          <a14:foregroundMark x1="39714" y1="87695" x2="48828" y2="88318"/>
                          <a14:foregroundMark x1="48828" y1="88318" x2="55208" y2="92523"/>
                          <a14:foregroundMark x1="55208" y1="92523" x2="42708" y2="91900"/>
                          <a14:foregroundMark x1="52474" y1="90343" x2="61719" y2="85981"/>
                          <a14:foregroundMark x1="43229" y1="96417" x2="47396" y2="93458"/>
                          <a14:foregroundMark x1="93750" y1="61215" x2="77865" y2="58723"/>
                          <a14:foregroundMark x1="75521" y1="34735" x2="68750" y2="38941"/>
                          <a14:backgroundMark x1="32031" y1="32555" x2="26172" y2="37227"/>
                          <a14:backgroundMark x1="26172" y1="37227" x2="24609" y2="55919"/>
                          <a14:backgroundMark x1="24609" y1="55919" x2="15365" y2="43146"/>
                          <a14:backgroundMark x1="15365" y1="43146" x2="17969" y2="33178"/>
                          <a14:backgroundMark x1="17969" y1="33178" x2="20443" y2="41121"/>
                          <a14:backgroundMark x1="20443" y1="41121" x2="19401" y2="4252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632894" y="4017820"/>
              <a:ext cx="2768367" cy="2314182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93A84FB-F455-ACAC-77CE-B841C24EB8DF}"/>
              </a:ext>
            </a:extLst>
          </p:cNvPr>
          <p:cNvGrpSpPr/>
          <p:nvPr/>
        </p:nvGrpSpPr>
        <p:grpSpPr>
          <a:xfrm>
            <a:off x="5805182" y="4328719"/>
            <a:ext cx="1377665" cy="1013257"/>
            <a:chOff x="5105400" y="3968565"/>
            <a:chExt cx="2077447" cy="137341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26D4D8D-853E-7DAC-9A57-AAB3F5D5AB2E}"/>
                </a:ext>
              </a:extLst>
            </p:cNvPr>
            <p:cNvGrpSpPr/>
            <p:nvPr/>
          </p:nvGrpSpPr>
          <p:grpSpPr>
            <a:xfrm>
              <a:off x="5278546" y="3968565"/>
              <a:ext cx="1904301" cy="1219101"/>
              <a:chOff x="1418614" y="4066071"/>
              <a:chExt cx="3069496" cy="1742382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3484A87A-61A6-4AB7-90C4-EE53C4D5D8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418614" y="4066071"/>
                <a:ext cx="3069496" cy="1742382"/>
              </a:xfrm>
              <a:prstGeom prst="rect">
                <a:avLst/>
              </a:prstGeom>
            </p:spPr>
          </p:pic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4B9148E1-EEDD-5EFD-C022-C7E032813564}"/>
                  </a:ext>
                </a:extLst>
              </p:cNvPr>
              <p:cNvCxnSpPr/>
              <p:nvPr/>
            </p:nvCxnSpPr>
            <p:spPr bwMode="auto">
              <a:xfrm>
                <a:off x="1713224" y="4488110"/>
                <a:ext cx="2623412" cy="497906"/>
              </a:xfrm>
              <a:prstGeom prst="straightConnector1">
                <a:avLst/>
              </a:prstGeom>
              <a:solidFill>
                <a:schemeClr val="accent1"/>
              </a:solidFill>
              <a:ln w="762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1A90D70-F099-F294-D818-07B82E46857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5060" b="97172" l="3771" r="89984">
                          <a14:foregroundMark x1="15037" y1="51728" x2="10771" y2="56034"/>
                          <a14:foregroundMark x1="10771" y1="56034" x2="7023" y2="63671"/>
                          <a14:foregroundMark x1="7023" y1="63671" x2="23663" y2="72627"/>
                          <a14:foregroundMark x1="23663" y1="72627" x2="33608" y2="91295"/>
                          <a14:foregroundMark x1="33608" y1="91295" x2="45911" y2="96857"/>
                          <a14:foregroundMark x1="45911" y1="96857" x2="69691" y2="99497"/>
                          <a14:foregroundMark x1="69691" y1="99497" x2="76950" y2="97172"/>
                          <a14:foregroundMark x1="76950" y1="97172" x2="78576" y2="88875"/>
                          <a14:foregroundMark x1="78576" y1="88875" x2="74664" y2="59365"/>
                          <a14:foregroundMark x1="74664" y1="59365" x2="70634" y2="53048"/>
                          <a14:foregroundMark x1="70634" y1="53048" x2="63163" y2="48429"/>
                          <a14:foregroundMark x1="63163" y1="48429" x2="52958" y2="57700"/>
                          <a14:foregroundMark x1="52958" y1="57700" x2="41127" y2="58485"/>
                          <a14:foregroundMark x1="41127" y1="58485" x2="33985" y2="49120"/>
                          <a14:foregroundMark x1="33985" y1="49120" x2="30002" y2="56977"/>
                          <a14:foregroundMark x1="30002" y1="56977" x2="28635" y2="64111"/>
                          <a14:foregroundMark x1="57884" y1="10654" x2="51497" y2="9962"/>
                          <a14:foregroundMark x1="51497" y1="9962" x2="48621" y2="11125"/>
                          <a14:foregroundMark x1="43766" y1="9302" x2="49493" y2="4274"/>
                          <a14:foregroundMark x1="49493" y1="4274" x2="54678" y2="5091"/>
                          <a14:foregroundMark x1="54678" y1="5091" x2="55220" y2="5500"/>
                          <a14:foregroundMark x1="7990" y1="61282" x2="4690" y2="68510"/>
                          <a14:foregroundMark x1="4690" y1="68510" x2="8343" y2="75361"/>
                          <a14:foregroundMark x1="8343" y1="75361" x2="8343" y2="75361"/>
                          <a14:foregroundMark x1="4219" y1="69107" x2="3771" y2="7401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105400" y="4122875"/>
              <a:ext cx="1625595" cy="1219101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30DB91C-FF6A-3BAC-6EB4-F78C94C9D889}"/>
              </a:ext>
            </a:extLst>
          </p:cNvPr>
          <p:cNvGrpSpPr/>
          <p:nvPr/>
        </p:nvGrpSpPr>
        <p:grpSpPr>
          <a:xfrm>
            <a:off x="5668042" y="2415436"/>
            <a:ext cx="1421641" cy="1299032"/>
            <a:chOff x="1577131" y="2716623"/>
            <a:chExt cx="2815676" cy="2748803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F8D240D-6833-F08D-6221-6ACE6CE30B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577131" y="2716623"/>
              <a:ext cx="2815676" cy="274880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88BFBF9-5AFE-C8C2-934A-858BC65C64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6266" b="96742" l="9850" r="93155">
                          <a14:foregroundMark x1="34558" y1="6266" x2="40902" y2="6266"/>
                          <a14:foregroundMark x1="24875" y1="32331" x2="27713" y2="41103"/>
                          <a14:foregroundMark x1="16694" y1="95990" x2="25042" y2="69674"/>
                          <a14:foregroundMark x1="25042" y1="69674" x2="34558" y2="67669"/>
                          <a14:foregroundMark x1="34558" y1="67669" x2="42404" y2="84712"/>
                          <a14:foregroundMark x1="42404" y1="84712" x2="59432" y2="91228"/>
                          <a14:foregroundMark x1="59432" y1="91228" x2="69783" y2="90727"/>
                          <a14:foregroundMark x1="69783" y1="90727" x2="78631" y2="93484"/>
                          <a14:foregroundMark x1="78631" y1="93484" x2="85643" y2="85464"/>
                          <a14:foregroundMark x1="85643" y1="85464" x2="88815" y2="70677"/>
                          <a14:foregroundMark x1="88815" y1="70677" x2="74624" y2="78697"/>
                          <a14:foregroundMark x1="74624" y1="78697" x2="39399" y2="66416"/>
                          <a14:foregroundMark x1="39399" y1="66416" x2="31219" y2="82456"/>
                          <a14:foregroundMark x1="31219" y1="82456" x2="54257" y2="74687"/>
                          <a14:foregroundMark x1="31553" y1="92481" x2="53255" y2="89724"/>
                          <a14:foregroundMark x1="53255" y1="89724" x2="88314" y2="96742"/>
                          <a14:foregroundMark x1="88314" y1="96742" x2="89149" y2="96241"/>
                          <a14:foregroundMark x1="93155" y1="96742" x2="89482" y2="92481"/>
                          <a14:foregroundMark x1="93155" y1="62657" x2="92988" y2="56892"/>
                          <a14:foregroundMark x1="48748" y1="62155" x2="48748" y2="64912"/>
                          <a14:foregroundMark x1="78130" y1="89975" x2="78130" y2="89975"/>
                          <a14:backgroundMark x1="53589" y1="16792" x2="57763" y2="40852"/>
                          <a14:backgroundMark x1="57763" y1="40852" x2="53422" y2="55388"/>
                          <a14:backgroundMark x1="53422" y1="55388" x2="65109" y2="64912"/>
                          <a14:backgroundMark x1="65109" y1="64912" x2="91152" y2="47118"/>
                          <a14:backgroundMark x1="91152" y1="47118" x2="90651" y2="23308"/>
                          <a14:backgroundMark x1="90651" y1="23308" x2="82638" y2="18045"/>
                          <a14:backgroundMark x1="82638" y1="18045" x2="66110" y2="15789"/>
                          <a14:backgroundMark x1="66110" y1="15789" x2="80968" y2="30827"/>
                          <a14:backgroundMark x1="80968" y1="30827" x2="73790" y2="43108"/>
                          <a14:backgroundMark x1="73790" y1="43108" x2="66945" y2="49875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175371" y="3657157"/>
              <a:ext cx="2110826" cy="1406042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B413F8B-D2CE-1D0E-7BA1-D71FD84BE59C}"/>
              </a:ext>
            </a:extLst>
          </p:cNvPr>
          <p:cNvGrpSpPr/>
          <p:nvPr/>
        </p:nvGrpSpPr>
        <p:grpSpPr>
          <a:xfrm>
            <a:off x="4433372" y="2860714"/>
            <a:ext cx="1532912" cy="1136571"/>
            <a:chOff x="810814" y="2700249"/>
            <a:chExt cx="4963037" cy="3177451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73EEF5E-0C1A-79CA-0E87-CCFF99881615}"/>
                </a:ext>
              </a:extLst>
            </p:cNvPr>
            <p:cNvGrpSpPr/>
            <p:nvPr/>
          </p:nvGrpSpPr>
          <p:grpSpPr>
            <a:xfrm>
              <a:off x="1113730" y="2700249"/>
              <a:ext cx="4660121" cy="3126502"/>
              <a:chOff x="6511461" y="3662576"/>
              <a:chExt cx="6582421" cy="3914458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8B2F658E-A677-6D17-F700-92E976A15B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511461" y="3662576"/>
                <a:ext cx="5650341" cy="2875384"/>
              </a:xfrm>
              <a:prstGeom prst="rect">
                <a:avLst/>
              </a:prstGeom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147D955-F0BF-72F9-91D4-237CD5A8112C}"/>
                  </a:ext>
                </a:extLst>
              </p:cNvPr>
              <p:cNvSpPr txBox="1"/>
              <p:nvPr/>
            </p:nvSpPr>
            <p:spPr>
              <a:xfrm>
                <a:off x="6835043" y="5243906"/>
                <a:ext cx="6258839" cy="233312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  <a:buSzPct val="100000"/>
                </a:pPr>
                <a:r>
                  <a:rPr lang="pl-PL" sz="1200" i="0" dirty="0" err="1">
                    <a:solidFill>
                      <a:srgbClr val="333333"/>
                    </a:solidFill>
                    <a:effectLst/>
                    <a:highlight>
                      <a:srgbClr val="F5F5F5"/>
                    </a:highlight>
                    <a:latin typeface="Helvetica Neue"/>
                  </a:rPr>
                  <a:t>Ifo</a:t>
                </a:r>
                <a:r>
                  <a:rPr lang="pl-PL" sz="1200" i="0" dirty="0">
                    <a:solidFill>
                      <a:srgbClr val="333333"/>
                    </a:solidFill>
                    <a:effectLst/>
                    <a:highlight>
                      <a:srgbClr val="F5F5F5"/>
                    </a:highlight>
                    <a:latin typeface="Helvetica Neue"/>
                  </a:rPr>
                  <a:t> </a:t>
                </a:r>
                <a:r>
                  <a:rPr lang="pl-PL" sz="1200" i="0" dirty="0" err="1">
                    <a:solidFill>
                      <a:srgbClr val="333333"/>
                    </a:solidFill>
                    <a:effectLst/>
                    <a:highlight>
                      <a:srgbClr val="F5F5F5"/>
                    </a:highlight>
                    <a:latin typeface="Helvetica Neue"/>
                  </a:rPr>
                  <a:t>Expectations</a:t>
                </a:r>
                <a:endParaRPr lang="pl-PL" sz="1200" i="0" dirty="0">
                  <a:solidFill>
                    <a:srgbClr val="333333"/>
                  </a:solidFill>
                  <a:effectLst/>
                  <a:highlight>
                    <a:srgbClr val="F5F5F5"/>
                  </a:highlight>
                  <a:latin typeface="Helvetica Neue"/>
                </a:endParaRPr>
              </a:p>
              <a:p>
                <a:pPr marL="285750" indent="-285750">
                  <a:lnSpc>
                    <a:spcPct val="100000"/>
                  </a:lnSpc>
                  <a:spcAft>
                    <a:spcPts val="600"/>
                  </a:spcAft>
                  <a:buSzPct val="100000"/>
                  <a:buFont typeface="Arial" panose="020B0604020202020204" pitchFamily="34" charset="0"/>
                  <a:buChar char="•"/>
                </a:pPr>
                <a:endParaRPr lang="pl-PL" sz="1600" dirty="0"/>
              </a:p>
            </p:txBody>
          </p:sp>
          <p:sp>
            <p:nvSpPr>
              <p:cNvPr id="26" name="Arrow: Down 25">
                <a:extLst>
                  <a:ext uri="{FF2B5EF4-FFF2-40B4-BE49-F238E27FC236}">
                    <a16:creationId xmlns:a16="http://schemas.microsoft.com/office/drawing/2014/main" id="{DDC6C152-DB06-836B-7D42-3B5EE6251400}"/>
                  </a:ext>
                </a:extLst>
              </p:cNvPr>
              <p:cNvSpPr/>
              <p:nvPr/>
            </p:nvSpPr>
            <p:spPr>
              <a:xfrm>
                <a:off x="9543210" y="5435496"/>
                <a:ext cx="244777" cy="345232"/>
              </a:xfrm>
              <a:prstGeom prst="down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600"/>
              </a:p>
            </p:txBody>
          </p:sp>
          <p:sp>
            <p:nvSpPr>
              <p:cNvPr id="27" name="Arrow: Down 26">
                <a:extLst>
                  <a:ext uri="{FF2B5EF4-FFF2-40B4-BE49-F238E27FC236}">
                    <a16:creationId xmlns:a16="http://schemas.microsoft.com/office/drawing/2014/main" id="{C79D00E1-95BF-3094-44C7-641EE22AA7AC}"/>
                  </a:ext>
                </a:extLst>
              </p:cNvPr>
              <p:cNvSpPr/>
              <p:nvPr/>
            </p:nvSpPr>
            <p:spPr>
              <a:xfrm>
                <a:off x="10791039" y="5183570"/>
                <a:ext cx="244777" cy="345232"/>
              </a:xfrm>
              <a:prstGeom prst="down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600"/>
              </a:p>
            </p:txBody>
          </p:sp>
        </p:grpSp>
        <p:pic>
          <p:nvPicPr>
            <p:cNvPr id="22" name="Picture 2" descr="ESA - Bear sleeping">
              <a:extLst>
                <a:ext uri="{FF2B5EF4-FFF2-40B4-BE49-F238E27FC236}">
                  <a16:creationId xmlns:a16="http://schemas.microsoft.com/office/drawing/2014/main" id="{EDAC15EB-1DC4-6400-FCEF-C07E4604F9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10000" b="90000" l="3385" r="90000">
                          <a14:foregroundMark x1="96823" y1="67323" x2="77604" y2="60945"/>
                          <a14:foregroundMark x1="77604" y1="60945" x2="85156" y2="82677"/>
                          <a14:foregroundMark x1="85156" y1="82677" x2="83229" y2="93071"/>
                          <a14:foregroundMark x1="83229" y1="93071" x2="71979" y2="93543"/>
                          <a14:foregroundMark x1="71979" y1="93543" x2="9531" y2="49843"/>
                          <a14:foregroundMark x1="9531" y1="49843" x2="5417" y2="43228"/>
                          <a14:foregroundMark x1="5417" y1="43228" x2="3385" y2="34724"/>
                          <a14:foregroundMark x1="3385" y1="34724" x2="10521" y2="32598"/>
                          <a14:foregroundMark x1="10521" y1="32598" x2="29167" y2="40394"/>
                          <a14:foregroundMark x1="68177" y1="30236" x2="69167" y2="36772"/>
                          <a14:backgroundMark x1="17917" y1="69528" x2="19167" y2="74803"/>
                          <a14:backgroundMark x1="78542" y1="56063" x2="84219" y2="57717"/>
                          <a14:backgroundMark x1="76927" y1="56614" x2="75781" y2="5590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810814" y="3714468"/>
              <a:ext cx="3270386" cy="2163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EAC5DC70-156F-8D2E-8A1E-4755D55BE44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9917" b="94318" l="9961" r="89974">
                        <a14:foregroundMark x1="54753" y1="67872" x2="36068" y2="9431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01221" y="2736735"/>
            <a:ext cx="2000911" cy="1260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724827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2000" fill="hold"/>
                                        <p:tgtEl>
                                          <p:spTgt spid="2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2000" fill="hold"/>
                                        <p:tgtEl>
                                          <p:spTgt spid="1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9" dur="2000" fill="hold"/>
                                        <p:tgtEl>
                                          <p:spTgt spid="1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2000" fill="hold"/>
                                        <p:tgtEl>
                                          <p:spTgt spid="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2000" fill="hold"/>
                                        <p:tgtEl>
                                          <p:spTgt spid="2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7DF3E-FE8A-D2CA-B872-46F281DE0A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FF0000"/>
                </a:solidFill>
              </a:rPr>
              <a:t>Co się dzieje? Stan nastrojów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CAB55E1-C897-9254-47CC-6D15B4360BF8}"/>
              </a:ext>
            </a:extLst>
          </p:cNvPr>
          <p:cNvGrpSpPr/>
          <p:nvPr/>
        </p:nvGrpSpPr>
        <p:grpSpPr>
          <a:xfrm>
            <a:off x="64207" y="1562100"/>
            <a:ext cx="4507793" cy="2410499"/>
            <a:chOff x="1149772" y="1205968"/>
            <a:chExt cx="4507793" cy="2410499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93761EC-C833-22F8-BBB4-0B245C2CAECE}"/>
                </a:ext>
              </a:extLst>
            </p:cNvPr>
            <p:cNvGrpSpPr/>
            <p:nvPr/>
          </p:nvGrpSpPr>
          <p:grpSpPr>
            <a:xfrm>
              <a:off x="1149772" y="1205968"/>
              <a:ext cx="4507793" cy="2410499"/>
              <a:chOff x="1149772" y="1205968"/>
              <a:chExt cx="4507793" cy="2410499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958FABC7-E9FF-F52F-79AE-D2DF5A009A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49772" y="1205968"/>
                <a:ext cx="4507793" cy="241049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41945D5D-690B-3667-77F6-39AB8370AB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49571" y="1945983"/>
                <a:ext cx="602012" cy="377261"/>
              </a:xfrm>
              <a:prstGeom prst="rect">
                <a:avLst/>
              </a:prstGeom>
              <a:ln>
                <a:noFill/>
              </a:ln>
              <a:effectLst/>
            </p:spPr>
          </p:pic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5150768-B537-D191-B3AC-2CEDBBA1E617}"/>
                </a:ext>
              </a:extLst>
            </p:cNvPr>
            <p:cNvSpPr txBox="1"/>
            <p:nvPr/>
          </p:nvSpPr>
          <p:spPr>
            <a:xfrm>
              <a:off x="4910742" y="2444122"/>
              <a:ext cx="29815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pl-PL" sz="1000" dirty="0">
                  <a:solidFill>
                    <a:srgbClr val="FF0000"/>
                  </a:solidFill>
                </a:rPr>
                <a:t>-14%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AAA6A30-F4DE-711E-1547-691A6C57521C}"/>
                </a:ext>
              </a:extLst>
            </p:cNvPr>
            <p:cNvSpPr txBox="1"/>
            <p:nvPr/>
          </p:nvSpPr>
          <p:spPr>
            <a:xfrm>
              <a:off x="5284153" y="2303038"/>
              <a:ext cx="22762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pl-PL" sz="1000" dirty="0">
                  <a:solidFill>
                    <a:srgbClr val="FF0000"/>
                  </a:solidFill>
                </a:rPr>
                <a:t>-5%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CCE7C2C-D33D-B5E7-28BC-D0CB0505C337}"/>
              </a:ext>
            </a:extLst>
          </p:cNvPr>
          <p:cNvGrpSpPr/>
          <p:nvPr/>
        </p:nvGrpSpPr>
        <p:grpSpPr>
          <a:xfrm>
            <a:off x="73188" y="4101296"/>
            <a:ext cx="4507793" cy="2412622"/>
            <a:chOff x="1149772" y="4125338"/>
            <a:chExt cx="4507793" cy="241262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F8B230D-58E1-4F26-1F20-BFB5A9684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49772" y="4125338"/>
              <a:ext cx="4507793" cy="241262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8B89029-7D13-4C91-3937-EB85E08100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53585" y="4612816"/>
              <a:ext cx="597998" cy="389301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AE9DD8C-CC7C-15ED-469A-4E2580293D20}"/>
                </a:ext>
              </a:extLst>
            </p:cNvPr>
            <p:cNvSpPr txBox="1"/>
            <p:nvPr/>
          </p:nvSpPr>
          <p:spPr>
            <a:xfrm>
              <a:off x="5024554" y="5007898"/>
              <a:ext cx="22762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pl-PL" sz="1000" dirty="0">
                  <a:solidFill>
                    <a:srgbClr val="FF0000"/>
                  </a:solidFill>
                </a:rPr>
                <a:t>-4%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A6A9E1D-76E6-CFFC-880F-1F1E1EC4871C}"/>
                </a:ext>
              </a:extLst>
            </p:cNvPr>
            <p:cNvSpPr txBox="1"/>
            <p:nvPr/>
          </p:nvSpPr>
          <p:spPr>
            <a:xfrm>
              <a:off x="5284153" y="4848229"/>
              <a:ext cx="22762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pl-PL" sz="1000" dirty="0">
                  <a:solidFill>
                    <a:srgbClr val="FF0000"/>
                  </a:solidFill>
                </a:rPr>
                <a:t>-2%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1A41744-18AC-4317-6628-341BFE35C587}"/>
              </a:ext>
            </a:extLst>
          </p:cNvPr>
          <p:cNvGrpSpPr/>
          <p:nvPr/>
        </p:nvGrpSpPr>
        <p:grpSpPr>
          <a:xfrm>
            <a:off x="4695127" y="1571307"/>
            <a:ext cx="4384666" cy="2392083"/>
            <a:chOff x="6394026" y="1224384"/>
            <a:chExt cx="4619340" cy="239208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9416D55-2626-36DD-47C1-4A76A6F172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94026" y="1224384"/>
              <a:ext cx="4619340" cy="239208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53C41D8-7548-CF6A-004D-32EB0F45824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812558" y="1813540"/>
              <a:ext cx="597998" cy="321073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A53DB62-BA82-2F1B-7D0D-FB09AD8BF765}"/>
                </a:ext>
              </a:extLst>
            </p:cNvPr>
            <p:cNvSpPr txBox="1"/>
            <p:nvPr/>
          </p:nvSpPr>
          <p:spPr>
            <a:xfrm>
              <a:off x="10382830" y="2015678"/>
              <a:ext cx="22762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pl-PL" sz="1000" dirty="0">
                  <a:solidFill>
                    <a:srgbClr val="FF0000"/>
                  </a:solidFill>
                </a:rPr>
                <a:t>-4%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8CE9AF4-8470-81BF-36A5-E9FA95723999}"/>
                </a:ext>
              </a:extLst>
            </p:cNvPr>
            <p:cNvSpPr txBox="1"/>
            <p:nvPr/>
          </p:nvSpPr>
          <p:spPr>
            <a:xfrm>
              <a:off x="10642429" y="1856009"/>
              <a:ext cx="22762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pl-PL" sz="1000" dirty="0">
                  <a:solidFill>
                    <a:srgbClr val="FF0000"/>
                  </a:solidFill>
                </a:rPr>
                <a:t>-2%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C22E312-65C3-7358-287B-E5121EB40DCF}"/>
              </a:ext>
            </a:extLst>
          </p:cNvPr>
          <p:cNvGrpSpPr/>
          <p:nvPr/>
        </p:nvGrpSpPr>
        <p:grpSpPr>
          <a:xfrm>
            <a:off x="4695127" y="4094729"/>
            <a:ext cx="4467759" cy="2425756"/>
            <a:chOff x="6394026" y="4084612"/>
            <a:chExt cx="4706880" cy="2425756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7A5F756-575D-929E-3947-A16C41A36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94026" y="4084612"/>
              <a:ext cx="4706880" cy="242575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8C686D5-FDEF-99FD-BE27-5BE71103A48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918830" y="4527845"/>
              <a:ext cx="610039" cy="397328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D854CAF-B816-3EBE-909B-F11EEA64CC48}"/>
                </a:ext>
              </a:extLst>
            </p:cNvPr>
            <p:cNvSpPr txBox="1"/>
            <p:nvPr/>
          </p:nvSpPr>
          <p:spPr>
            <a:xfrm>
              <a:off x="10483181" y="4930954"/>
              <a:ext cx="22762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pl-PL" sz="1000" dirty="0">
                  <a:solidFill>
                    <a:srgbClr val="FF0000"/>
                  </a:solidFill>
                </a:rPr>
                <a:t>-5%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828BD2E-3AE9-0042-1BB0-63412790789E}"/>
                </a:ext>
              </a:extLst>
            </p:cNvPr>
            <p:cNvSpPr txBox="1"/>
            <p:nvPr/>
          </p:nvSpPr>
          <p:spPr>
            <a:xfrm>
              <a:off x="10742780" y="4771285"/>
              <a:ext cx="22762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pl-PL" sz="1000" dirty="0">
                  <a:solidFill>
                    <a:srgbClr val="FF0000"/>
                  </a:solidFill>
                </a:rPr>
                <a:t>-4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97040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5AEE4-23E2-ADA5-1227-263E9C9211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FF0000"/>
                </a:solidFill>
              </a:rPr>
              <a:t>Stan gospodarki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3D47736-3CB5-5520-6251-3EA95640AC71}"/>
              </a:ext>
            </a:extLst>
          </p:cNvPr>
          <p:cNvCxnSpPr>
            <a:cxnSpLocks/>
          </p:cNvCxnSpPr>
          <p:nvPr/>
        </p:nvCxnSpPr>
        <p:spPr>
          <a:xfrm flipV="1">
            <a:off x="1719474" y="4129784"/>
            <a:ext cx="6413278" cy="66577"/>
          </a:xfrm>
          <a:prstGeom prst="line">
            <a:avLst/>
          </a:prstGeom>
          <a:ln w="5715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10E82BA-821E-C908-4F4B-6BF2966C0BAE}"/>
              </a:ext>
            </a:extLst>
          </p:cNvPr>
          <p:cNvSpPr txBox="1"/>
          <p:nvPr/>
        </p:nvSpPr>
        <p:spPr>
          <a:xfrm>
            <a:off x="8319066" y="6877116"/>
            <a:ext cx="28614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dirty="0"/>
              <a:t>Source: tradingeconomics.com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E381842-5ACE-9395-85C4-D8C7A43E62F9}"/>
              </a:ext>
            </a:extLst>
          </p:cNvPr>
          <p:cNvGrpSpPr/>
          <p:nvPr/>
        </p:nvGrpSpPr>
        <p:grpSpPr>
          <a:xfrm>
            <a:off x="7997994" y="3666309"/>
            <a:ext cx="380979" cy="1618891"/>
            <a:chOff x="9918404" y="1773788"/>
            <a:chExt cx="380979" cy="1460945"/>
          </a:xfrm>
        </p:grpSpPr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A8C41CE4-52CE-D2FA-F854-7A932AB10423}"/>
                </a:ext>
              </a:extLst>
            </p:cNvPr>
            <p:cNvCxnSpPr>
              <a:cxnSpLocks/>
            </p:cNvCxnSpPr>
            <p:nvPr/>
          </p:nvCxnSpPr>
          <p:spPr>
            <a:xfrm>
              <a:off x="9918404" y="2177238"/>
              <a:ext cx="0" cy="1057495"/>
            </a:xfrm>
            <a:prstGeom prst="straightConnector1">
              <a:avLst/>
            </a:prstGeom>
            <a:ln w="12700" cap="sq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8" name="Rectangle 44">
              <a:extLst>
                <a:ext uri="{FF2B5EF4-FFF2-40B4-BE49-F238E27FC236}">
                  <a16:creationId xmlns:a16="http://schemas.microsoft.com/office/drawing/2014/main" id="{6FFFA7AC-A3BB-C4DB-B05C-85174D8AE7F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826917" y="2554837"/>
              <a:ext cx="69871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571500"/>
              <a:r>
                <a:rPr lang="pl-PL" altLang="pl-PL" sz="1600" b="1" i="1" dirty="0">
                  <a:solidFill>
                    <a:srgbClr val="FF0000"/>
                  </a:solidFill>
                  <a:cs typeface="Arial" panose="020B0604020202020204" pitchFamily="34" charset="0"/>
                </a:rPr>
                <a:t>Recesja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7A8775A6-9BED-0FCF-27CE-E88F5058C3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918404" y="1773788"/>
              <a:ext cx="0" cy="251414"/>
            </a:xfrm>
            <a:prstGeom prst="straightConnector1">
              <a:avLst/>
            </a:prstGeom>
            <a:ln w="12700" cap="sq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10" name="Rectangle 44">
            <a:extLst>
              <a:ext uri="{FF2B5EF4-FFF2-40B4-BE49-F238E27FC236}">
                <a16:creationId xmlns:a16="http://schemas.microsoft.com/office/drawing/2014/main" id="{438FEB21-9AC2-7F9B-97FC-7342B27EA43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7913622" y="3515576"/>
            <a:ext cx="68448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571500"/>
            <a:r>
              <a:rPr lang="pl-PL" altLang="pl-PL" sz="1600" b="1" i="1" dirty="0">
                <a:solidFill>
                  <a:srgbClr val="00B050"/>
                </a:solidFill>
                <a:cs typeface="Arial" panose="020B0604020202020204" pitchFamily="34" charset="0"/>
              </a:rPr>
              <a:t>Wzrost</a:t>
            </a:r>
          </a:p>
        </p:txBody>
      </p:sp>
      <p:sp>
        <p:nvSpPr>
          <p:cNvPr id="11" name="AutoShape 3">
            <a:extLst>
              <a:ext uri="{FF2B5EF4-FFF2-40B4-BE49-F238E27FC236}">
                <a16:creationId xmlns:a16="http://schemas.microsoft.com/office/drawing/2014/main" id="{385AF724-AC56-C649-7C05-1EE2A33D774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69735" y="1997121"/>
            <a:ext cx="6908800" cy="415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D4DEE01B-E195-FAE4-1DE2-C4320E56F0FD}"/>
              </a:ext>
            </a:extLst>
          </p:cNvPr>
          <p:cNvSpPr>
            <a:spLocks noEditPoints="1"/>
          </p:cNvSpPr>
          <p:nvPr/>
        </p:nvSpPr>
        <p:spPr bwMode="auto">
          <a:xfrm>
            <a:off x="1734911" y="2525758"/>
            <a:ext cx="6110288" cy="2470150"/>
          </a:xfrm>
          <a:custGeom>
            <a:avLst/>
            <a:gdLst>
              <a:gd name="T0" fmla="*/ 0 w 3849"/>
              <a:gd name="T1" fmla="*/ 1556 h 1556"/>
              <a:gd name="T2" fmla="*/ 3849 w 3849"/>
              <a:gd name="T3" fmla="*/ 1556 h 1556"/>
              <a:gd name="T4" fmla="*/ 0 w 3849"/>
              <a:gd name="T5" fmla="*/ 1296 h 1556"/>
              <a:gd name="T6" fmla="*/ 3849 w 3849"/>
              <a:gd name="T7" fmla="*/ 1296 h 1556"/>
              <a:gd name="T8" fmla="*/ 0 w 3849"/>
              <a:gd name="T9" fmla="*/ 1037 h 1556"/>
              <a:gd name="T10" fmla="*/ 3849 w 3849"/>
              <a:gd name="T11" fmla="*/ 1037 h 1556"/>
              <a:gd name="T12" fmla="*/ 0 w 3849"/>
              <a:gd name="T13" fmla="*/ 778 h 1556"/>
              <a:gd name="T14" fmla="*/ 3849 w 3849"/>
              <a:gd name="T15" fmla="*/ 778 h 1556"/>
              <a:gd name="T16" fmla="*/ 0 w 3849"/>
              <a:gd name="T17" fmla="*/ 518 h 1556"/>
              <a:gd name="T18" fmla="*/ 3849 w 3849"/>
              <a:gd name="T19" fmla="*/ 518 h 1556"/>
              <a:gd name="T20" fmla="*/ 0 w 3849"/>
              <a:gd name="T21" fmla="*/ 259 h 1556"/>
              <a:gd name="T22" fmla="*/ 3849 w 3849"/>
              <a:gd name="T23" fmla="*/ 259 h 1556"/>
              <a:gd name="T24" fmla="*/ 0 w 3849"/>
              <a:gd name="T25" fmla="*/ 0 h 1556"/>
              <a:gd name="T26" fmla="*/ 3849 w 3849"/>
              <a:gd name="T27" fmla="*/ 0 h 1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849" h="1556">
                <a:moveTo>
                  <a:pt x="0" y="1556"/>
                </a:moveTo>
                <a:lnTo>
                  <a:pt x="3849" y="1556"/>
                </a:lnTo>
                <a:moveTo>
                  <a:pt x="0" y="1296"/>
                </a:moveTo>
                <a:lnTo>
                  <a:pt x="3849" y="1296"/>
                </a:lnTo>
                <a:moveTo>
                  <a:pt x="0" y="1037"/>
                </a:moveTo>
                <a:lnTo>
                  <a:pt x="3849" y="1037"/>
                </a:lnTo>
                <a:moveTo>
                  <a:pt x="0" y="778"/>
                </a:moveTo>
                <a:lnTo>
                  <a:pt x="3849" y="778"/>
                </a:lnTo>
                <a:moveTo>
                  <a:pt x="0" y="518"/>
                </a:moveTo>
                <a:lnTo>
                  <a:pt x="3849" y="518"/>
                </a:lnTo>
                <a:moveTo>
                  <a:pt x="0" y="259"/>
                </a:moveTo>
                <a:lnTo>
                  <a:pt x="3849" y="259"/>
                </a:lnTo>
                <a:moveTo>
                  <a:pt x="0" y="0"/>
                </a:moveTo>
                <a:lnTo>
                  <a:pt x="3849" y="0"/>
                </a:lnTo>
              </a:path>
            </a:pathLst>
          </a:custGeom>
          <a:noFill/>
          <a:ln w="12700" cap="flat">
            <a:solidFill>
              <a:srgbClr val="D9D9D9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3" name="Line 7">
            <a:extLst>
              <a:ext uri="{FF2B5EF4-FFF2-40B4-BE49-F238E27FC236}">
                <a16:creationId xmlns:a16="http://schemas.microsoft.com/office/drawing/2014/main" id="{9164DB5C-4C7A-28D0-3EA8-7F220392966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34911" y="5407071"/>
            <a:ext cx="6110288" cy="0"/>
          </a:xfrm>
          <a:prstGeom prst="line">
            <a:avLst/>
          </a:prstGeom>
          <a:noFill/>
          <a:ln w="12700" cap="flat">
            <a:solidFill>
              <a:srgbClr val="D9D9D9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F7831ED6-2CC8-BB4F-68C9-D7461A0D285A}"/>
              </a:ext>
            </a:extLst>
          </p:cNvPr>
          <p:cNvSpPr>
            <a:spLocks noEditPoints="1"/>
          </p:cNvSpPr>
          <p:nvPr/>
        </p:nvSpPr>
        <p:spPr bwMode="auto">
          <a:xfrm>
            <a:off x="1734911" y="5407071"/>
            <a:ext cx="6110288" cy="34925"/>
          </a:xfrm>
          <a:custGeom>
            <a:avLst/>
            <a:gdLst>
              <a:gd name="T0" fmla="*/ 0 w 3849"/>
              <a:gd name="T1" fmla="*/ 22 h 22"/>
              <a:gd name="T2" fmla="*/ 105 w 3849"/>
              <a:gd name="T3" fmla="*/ 22 h 22"/>
              <a:gd name="T4" fmla="*/ 208 w 3849"/>
              <a:gd name="T5" fmla="*/ 22 h 22"/>
              <a:gd name="T6" fmla="*/ 313 w 3849"/>
              <a:gd name="T7" fmla="*/ 22 h 22"/>
              <a:gd name="T8" fmla="*/ 416 w 3849"/>
              <a:gd name="T9" fmla="*/ 22 h 22"/>
              <a:gd name="T10" fmla="*/ 521 w 3849"/>
              <a:gd name="T11" fmla="*/ 22 h 22"/>
              <a:gd name="T12" fmla="*/ 625 w 3849"/>
              <a:gd name="T13" fmla="*/ 22 h 22"/>
              <a:gd name="T14" fmla="*/ 728 w 3849"/>
              <a:gd name="T15" fmla="*/ 22 h 22"/>
              <a:gd name="T16" fmla="*/ 833 w 3849"/>
              <a:gd name="T17" fmla="*/ 22 h 22"/>
              <a:gd name="T18" fmla="*/ 936 w 3849"/>
              <a:gd name="T19" fmla="*/ 22 h 22"/>
              <a:gd name="T20" fmla="*/ 1041 w 3849"/>
              <a:gd name="T21" fmla="*/ 22 h 22"/>
              <a:gd name="T22" fmla="*/ 1144 w 3849"/>
              <a:gd name="T23" fmla="*/ 22 h 22"/>
              <a:gd name="T24" fmla="*/ 1249 w 3849"/>
              <a:gd name="T25" fmla="*/ 22 h 22"/>
              <a:gd name="T26" fmla="*/ 1353 w 3849"/>
              <a:gd name="T27" fmla="*/ 22 h 22"/>
              <a:gd name="T28" fmla="*/ 1457 w 3849"/>
              <a:gd name="T29" fmla="*/ 22 h 22"/>
              <a:gd name="T30" fmla="*/ 1561 w 3849"/>
              <a:gd name="T31" fmla="*/ 22 h 22"/>
              <a:gd name="T32" fmla="*/ 1665 w 3849"/>
              <a:gd name="T33" fmla="*/ 22 h 22"/>
              <a:gd name="T34" fmla="*/ 1769 w 3849"/>
              <a:gd name="T35" fmla="*/ 22 h 22"/>
              <a:gd name="T36" fmla="*/ 1874 w 3849"/>
              <a:gd name="T37" fmla="*/ 22 h 22"/>
              <a:gd name="T38" fmla="*/ 1977 w 3849"/>
              <a:gd name="T39" fmla="*/ 22 h 22"/>
              <a:gd name="T40" fmla="*/ 2080 w 3849"/>
              <a:gd name="T41" fmla="*/ 22 h 22"/>
              <a:gd name="T42" fmla="*/ 2185 w 3849"/>
              <a:gd name="T43" fmla="*/ 22 h 22"/>
              <a:gd name="T44" fmla="*/ 2289 w 3849"/>
              <a:gd name="T45" fmla="*/ 22 h 22"/>
              <a:gd name="T46" fmla="*/ 2393 w 3849"/>
              <a:gd name="T47" fmla="*/ 22 h 22"/>
              <a:gd name="T48" fmla="*/ 2497 w 3849"/>
              <a:gd name="T49" fmla="*/ 22 h 22"/>
              <a:gd name="T50" fmla="*/ 2601 w 3849"/>
              <a:gd name="T51" fmla="*/ 22 h 22"/>
              <a:gd name="T52" fmla="*/ 2705 w 3849"/>
              <a:gd name="T53" fmla="*/ 22 h 22"/>
              <a:gd name="T54" fmla="*/ 2810 w 3849"/>
              <a:gd name="T55" fmla="*/ 22 h 22"/>
              <a:gd name="T56" fmla="*/ 2913 w 3849"/>
              <a:gd name="T57" fmla="*/ 22 h 22"/>
              <a:gd name="T58" fmla="*/ 3018 w 3849"/>
              <a:gd name="T59" fmla="*/ 22 h 22"/>
              <a:gd name="T60" fmla="*/ 3121 w 3849"/>
              <a:gd name="T61" fmla="*/ 22 h 22"/>
              <a:gd name="T62" fmla="*/ 3226 w 3849"/>
              <a:gd name="T63" fmla="*/ 22 h 22"/>
              <a:gd name="T64" fmla="*/ 3329 w 3849"/>
              <a:gd name="T65" fmla="*/ 22 h 22"/>
              <a:gd name="T66" fmla="*/ 3433 w 3849"/>
              <a:gd name="T67" fmla="*/ 22 h 22"/>
              <a:gd name="T68" fmla="*/ 3538 w 3849"/>
              <a:gd name="T69" fmla="*/ 22 h 22"/>
              <a:gd name="T70" fmla="*/ 3641 w 3849"/>
              <a:gd name="T71" fmla="*/ 22 h 22"/>
              <a:gd name="T72" fmla="*/ 3746 w 3849"/>
              <a:gd name="T73" fmla="*/ 22 h 22"/>
              <a:gd name="T74" fmla="*/ 3849 w 3849"/>
              <a:gd name="T75" fmla="*/ 2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849" h="22">
                <a:moveTo>
                  <a:pt x="0" y="0"/>
                </a:moveTo>
                <a:lnTo>
                  <a:pt x="0" y="22"/>
                </a:lnTo>
                <a:moveTo>
                  <a:pt x="105" y="0"/>
                </a:moveTo>
                <a:lnTo>
                  <a:pt x="105" y="22"/>
                </a:lnTo>
                <a:moveTo>
                  <a:pt x="208" y="0"/>
                </a:moveTo>
                <a:lnTo>
                  <a:pt x="208" y="22"/>
                </a:lnTo>
                <a:moveTo>
                  <a:pt x="313" y="0"/>
                </a:moveTo>
                <a:lnTo>
                  <a:pt x="313" y="22"/>
                </a:lnTo>
                <a:moveTo>
                  <a:pt x="416" y="0"/>
                </a:moveTo>
                <a:lnTo>
                  <a:pt x="416" y="22"/>
                </a:lnTo>
                <a:moveTo>
                  <a:pt x="521" y="0"/>
                </a:moveTo>
                <a:lnTo>
                  <a:pt x="521" y="22"/>
                </a:lnTo>
                <a:moveTo>
                  <a:pt x="625" y="0"/>
                </a:moveTo>
                <a:lnTo>
                  <a:pt x="625" y="22"/>
                </a:lnTo>
                <a:moveTo>
                  <a:pt x="728" y="0"/>
                </a:moveTo>
                <a:lnTo>
                  <a:pt x="728" y="22"/>
                </a:lnTo>
                <a:moveTo>
                  <a:pt x="833" y="0"/>
                </a:moveTo>
                <a:lnTo>
                  <a:pt x="833" y="22"/>
                </a:lnTo>
                <a:moveTo>
                  <a:pt x="936" y="0"/>
                </a:moveTo>
                <a:lnTo>
                  <a:pt x="936" y="22"/>
                </a:lnTo>
                <a:moveTo>
                  <a:pt x="1041" y="0"/>
                </a:moveTo>
                <a:lnTo>
                  <a:pt x="1041" y="22"/>
                </a:lnTo>
                <a:moveTo>
                  <a:pt x="1144" y="0"/>
                </a:moveTo>
                <a:lnTo>
                  <a:pt x="1144" y="22"/>
                </a:lnTo>
                <a:moveTo>
                  <a:pt x="1249" y="0"/>
                </a:moveTo>
                <a:lnTo>
                  <a:pt x="1249" y="22"/>
                </a:lnTo>
                <a:moveTo>
                  <a:pt x="1353" y="0"/>
                </a:moveTo>
                <a:lnTo>
                  <a:pt x="1353" y="22"/>
                </a:lnTo>
                <a:moveTo>
                  <a:pt x="1457" y="0"/>
                </a:moveTo>
                <a:lnTo>
                  <a:pt x="1457" y="22"/>
                </a:lnTo>
                <a:moveTo>
                  <a:pt x="1561" y="0"/>
                </a:moveTo>
                <a:lnTo>
                  <a:pt x="1561" y="22"/>
                </a:lnTo>
                <a:moveTo>
                  <a:pt x="1665" y="0"/>
                </a:moveTo>
                <a:lnTo>
                  <a:pt x="1665" y="22"/>
                </a:lnTo>
                <a:moveTo>
                  <a:pt x="1769" y="0"/>
                </a:moveTo>
                <a:lnTo>
                  <a:pt x="1769" y="22"/>
                </a:lnTo>
                <a:moveTo>
                  <a:pt x="1874" y="0"/>
                </a:moveTo>
                <a:lnTo>
                  <a:pt x="1874" y="22"/>
                </a:lnTo>
                <a:moveTo>
                  <a:pt x="1977" y="0"/>
                </a:moveTo>
                <a:lnTo>
                  <a:pt x="1977" y="22"/>
                </a:lnTo>
                <a:moveTo>
                  <a:pt x="2080" y="0"/>
                </a:moveTo>
                <a:lnTo>
                  <a:pt x="2080" y="22"/>
                </a:lnTo>
                <a:moveTo>
                  <a:pt x="2185" y="0"/>
                </a:moveTo>
                <a:lnTo>
                  <a:pt x="2185" y="22"/>
                </a:lnTo>
                <a:moveTo>
                  <a:pt x="2289" y="0"/>
                </a:moveTo>
                <a:lnTo>
                  <a:pt x="2289" y="22"/>
                </a:lnTo>
                <a:moveTo>
                  <a:pt x="2393" y="0"/>
                </a:moveTo>
                <a:lnTo>
                  <a:pt x="2393" y="22"/>
                </a:lnTo>
                <a:moveTo>
                  <a:pt x="2497" y="0"/>
                </a:moveTo>
                <a:lnTo>
                  <a:pt x="2497" y="22"/>
                </a:lnTo>
                <a:moveTo>
                  <a:pt x="2601" y="0"/>
                </a:moveTo>
                <a:lnTo>
                  <a:pt x="2601" y="22"/>
                </a:lnTo>
                <a:moveTo>
                  <a:pt x="2705" y="0"/>
                </a:moveTo>
                <a:lnTo>
                  <a:pt x="2705" y="22"/>
                </a:lnTo>
                <a:moveTo>
                  <a:pt x="2810" y="0"/>
                </a:moveTo>
                <a:lnTo>
                  <a:pt x="2810" y="22"/>
                </a:lnTo>
                <a:moveTo>
                  <a:pt x="2913" y="0"/>
                </a:moveTo>
                <a:lnTo>
                  <a:pt x="2913" y="22"/>
                </a:lnTo>
                <a:moveTo>
                  <a:pt x="3018" y="0"/>
                </a:moveTo>
                <a:lnTo>
                  <a:pt x="3018" y="22"/>
                </a:lnTo>
                <a:moveTo>
                  <a:pt x="3121" y="0"/>
                </a:moveTo>
                <a:lnTo>
                  <a:pt x="3121" y="22"/>
                </a:lnTo>
                <a:moveTo>
                  <a:pt x="3226" y="0"/>
                </a:moveTo>
                <a:lnTo>
                  <a:pt x="3226" y="22"/>
                </a:lnTo>
                <a:moveTo>
                  <a:pt x="3329" y="0"/>
                </a:moveTo>
                <a:lnTo>
                  <a:pt x="3329" y="22"/>
                </a:lnTo>
                <a:moveTo>
                  <a:pt x="3433" y="0"/>
                </a:moveTo>
                <a:lnTo>
                  <a:pt x="3433" y="22"/>
                </a:lnTo>
                <a:moveTo>
                  <a:pt x="3538" y="0"/>
                </a:moveTo>
                <a:lnTo>
                  <a:pt x="3538" y="22"/>
                </a:lnTo>
                <a:moveTo>
                  <a:pt x="3641" y="0"/>
                </a:moveTo>
                <a:lnTo>
                  <a:pt x="3641" y="22"/>
                </a:lnTo>
                <a:moveTo>
                  <a:pt x="3746" y="0"/>
                </a:moveTo>
                <a:lnTo>
                  <a:pt x="3746" y="22"/>
                </a:lnTo>
                <a:moveTo>
                  <a:pt x="3849" y="0"/>
                </a:moveTo>
                <a:lnTo>
                  <a:pt x="3849" y="22"/>
                </a:lnTo>
              </a:path>
            </a:pathLst>
          </a:custGeom>
          <a:noFill/>
          <a:ln w="12700" cap="flat">
            <a:solidFill>
              <a:srgbClr val="D9D9D9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5" name="Freeform 9">
            <a:extLst>
              <a:ext uri="{FF2B5EF4-FFF2-40B4-BE49-F238E27FC236}">
                <a16:creationId xmlns:a16="http://schemas.microsoft.com/office/drawing/2014/main" id="{E614A136-2B25-1B1B-8D01-149B232C68CE}"/>
              </a:ext>
            </a:extLst>
          </p:cNvPr>
          <p:cNvSpPr>
            <a:spLocks/>
          </p:cNvSpPr>
          <p:nvPr/>
        </p:nvSpPr>
        <p:spPr bwMode="auto">
          <a:xfrm>
            <a:off x="1817461" y="2855958"/>
            <a:ext cx="5946775" cy="2238375"/>
          </a:xfrm>
          <a:custGeom>
            <a:avLst/>
            <a:gdLst>
              <a:gd name="T0" fmla="*/ 0 w 3746"/>
              <a:gd name="T1" fmla="*/ 0 h 1410"/>
              <a:gd name="T2" fmla="*/ 104 w 3746"/>
              <a:gd name="T3" fmla="*/ 180 h 1410"/>
              <a:gd name="T4" fmla="*/ 209 w 3746"/>
              <a:gd name="T5" fmla="*/ 388 h 1410"/>
              <a:gd name="T6" fmla="*/ 312 w 3746"/>
              <a:gd name="T7" fmla="*/ 414 h 1410"/>
              <a:gd name="T8" fmla="*/ 417 w 3746"/>
              <a:gd name="T9" fmla="*/ 440 h 1410"/>
              <a:gd name="T10" fmla="*/ 520 w 3746"/>
              <a:gd name="T11" fmla="*/ 440 h 1410"/>
              <a:gd name="T12" fmla="*/ 625 w 3746"/>
              <a:gd name="T13" fmla="*/ 310 h 1410"/>
              <a:gd name="T14" fmla="*/ 728 w 3746"/>
              <a:gd name="T15" fmla="*/ 388 h 1410"/>
              <a:gd name="T16" fmla="*/ 833 w 3746"/>
              <a:gd name="T17" fmla="*/ 466 h 1410"/>
              <a:gd name="T18" fmla="*/ 937 w 3746"/>
              <a:gd name="T19" fmla="*/ 569 h 1410"/>
              <a:gd name="T20" fmla="*/ 1041 w 3746"/>
              <a:gd name="T21" fmla="*/ 569 h 1410"/>
              <a:gd name="T22" fmla="*/ 1145 w 3746"/>
              <a:gd name="T23" fmla="*/ 725 h 1410"/>
              <a:gd name="T24" fmla="*/ 1249 w 3746"/>
              <a:gd name="T25" fmla="*/ 854 h 1410"/>
              <a:gd name="T26" fmla="*/ 1353 w 3746"/>
              <a:gd name="T27" fmla="*/ 880 h 1410"/>
              <a:gd name="T28" fmla="*/ 1456 w 3746"/>
              <a:gd name="T29" fmla="*/ 943 h 1410"/>
              <a:gd name="T30" fmla="*/ 1561 w 3746"/>
              <a:gd name="T31" fmla="*/ 1083 h 1410"/>
              <a:gd name="T32" fmla="*/ 1664 w 3746"/>
              <a:gd name="T33" fmla="*/ 1026 h 1410"/>
              <a:gd name="T34" fmla="*/ 1769 w 3746"/>
              <a:gd name="T35" fmla="*/ 979 h 1410"/>
              <a:gd name="T36" fmla="*/ 1873 w 3746"/>
              <a:gd name="T37" fmla="*/ 1010 h 1410"/>
              <a:gd name="T38" fmla="*/ 1977 w 3746"/>
              <a:gd name="T39" fmla="*/ 1021 h 1410"/>
              <a:gd name="T40" fmla="*/ 2081 w 3746"/>
              <a:gd name="T41" fmla="*/ 1103 h 1410"/>
              <a:gd name="T42" fmla="*/ 2186 w 3746"/>
              <a:gd name="T43" fmla="*/ 1114 h 1410"/>
              <a:gd name="T44" fmla="*/ 2289 w 3746"/>
              <a:gd name="T45" fmla="*/ 1181 h 1410"/>
              <a:gd name="T46" fmla="*/ 2394 w 3746"/>
              <a:gd name="T47" fmla="*/ 1316 h 1410"/>
              <a:gd name="T48" fmla="*/ 2497 w 3746"/>
              <a:gd name="T49" fmla="*/ 1410 h 1410"/>
              <a:gd name="T50" fmla="*/ 2602 w 3746"/>
              <a:gd name="T51" fmla="*/ 1394 h 1410"/>
              <a:gd name="T52" fmla="*/ 2705 w 3746"/>
              <a:gd name="T53" fmla="*/ 1368 h 1410"/>
              <a:gd name="T54" fmla="*/ 2809 w 3746"/>
              <a:gd name="T55" fmla="*/ 1311 h 1410"/>
              <a:gd name="T56" fmla="*/ 2913 w 3746"/>
              <a:gd name="T57" fmla="*/ 1213 h 1410"/>
              <a:gd name="T58" fmla="*/ 3017 w 3746"/>
              <a:gd name="T59" fmla="*/ 1176 h 1410"/>
              <a:gd name="T60" fmla="*/ 3122 w 3746"/>
              <a:gd name="T61" fmla="*/ 1062 h 1410"/>
              <a:gd name="T62" fmla="*/ 3225 w 3746"/>
              <a:gd name="T63" fmla="*/ 1218 h 1410"/>
              <a:gd name="T64" fmla="*/ 3330 w 3746"/>
              <a:gd name="T65" fmla="*/ 1249 h 1410"/>
              <a:gd name="T66" fmla="*/ 3433 w 3746"/>
              <a:gd name="T67" fmla="*/ 1218 h 1410"/>
              <a:gd name="T68" fmla="*/ 3538 w 3746"/>
              <a:gd name="T69" fmla="*/ 1068 h 1410"/>
              <a:gd name="T70" fmla="*/ 3641 w 3746"/>
              <a:gd name="T71" fmla="*/ 1166 h 1410"/>
              <a:gd name="T72" fmla="*/ 3746 w 3746"/>
              <a:gd name="T73" fmla="*/ 1181 h 1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46" h="1410">
                <a:moveTo>
                  <a:pt x="0" y="0"/>
                </a:moveTo>
                <a:lnTo>
                  <a:pt x="104" y="180"/>
                </a:lnTo>
                <a:lnTo>
                  <a:pt x="209" y="388"/>
                </a:lnTo>
                <a:lnTo>
                  <a:pt x="312" y="414"/>
                </a:lnTo>
                <a:lnTo>
                  <a:pt x="417" y="440"/>
                </a:lnTo>
                <a:lnTo>
                  <a:pt x="520" y="440"/>
                </a:lnTo>
                <a:lnTo>
                  <a:pt x="625" y="310"/>
                </a:lnTo>
                <a:lnTo>
                  <a:pt x="728" y="388"/>
                </a:lnTo>
                <a:lnTo>
                  <a:pt x="833" y="466"/>
                </a:lnTo>
                <a:lnTo>
                  <a:pt x="937" y="569"/>
                </a:lnTo>
                <a:lnTo>
                  <a:pt x="1041" y="569"/>
                </a:lnTo>
                <a:lnTo>
                  <a:pt x="1145" y="725"/>
                </a:lnTo>
                <a:lnTo>
                  <a:pt x="1249" y="854"/>
                </a:lnTo>
                <a:lnTo>
                  <a:pt x="1353" y="880"/>
                </a:lnTo>
                <a:lnTo>
                  <a:pt x="1456" y="943"/>
                </a:lnTo>
                <a:lnTo>
                  <a:pt x="1561" y="1083"/>
                </a:lnTo>
                <a:lnTo>
                  <a:pt x="1664" y="1026"/>
                </a:lnTo>
                <a:lnTo>
                  <a:pt x="1769" y="979"/>
                </a:lnTo>
                <a:lnTo>
                  <a:pt x="1873" y="1010"/>
                </a:lnTo>
                <a:lnTo>
                  <a:pt x="1977" y="1021"/>
                </a:lnTo>
                <a:lnTo>
                  <a:pt x="2081" y="1103"/>
                </a:lnTo>
                <a:lnTo>
                  <a:pt x="2186" y="1114"/>
                </a:lnTo>
                <a:lnTo>
                  <a:pt x="2289" y="1181"/>
                </a:lnTo>
                <a:lnTo>
                  <a:pt x="2394" y="1316"/>
                </a:lnTo>
                <a:lnTo>
                  <a:pt x="2497" y="1410"/>
                </a:lnTo>
                <a:lnTo>
                  <a:pt x="2602" y="1394"/>
                </a:lnTo>
                <a:lnTo>
                  <a:pt x="2705" y="1368"/>
                </a:lnTo>
                <a:lnTo>
                  <a:pt x="2809" y="1311"/>
                </a:lnTo>
                <a:lnTo>
                  <a:pt x="2913" y="1213"/>
                </a:lnTo>
                <a:lnTo>
                  <a:pt x="3017" y="1176"/>
                </a:lnTo>
                <a:lnTo>
                  <a:pt x="3122" y="1062"/>
                </a:lnTo>
                <a:lnTo>
                  <a:pt x="3225" y="1218"/>
                </a:lnTo>
                <a:lnTo>
                  <a:pt x="3330" y="1249"/>
                </a:lnTo>
                <a:lnTo>
                  <a:pt x="3433" y="1218"/>
                </a:lnTo>
                <a:lnTo>
                  <a:pt x="3538" y="1068"/>
                </a:lnTo>
                <a:lnTo>
                  <a:pt x="3641" y="1166"/>
                </a:lnTo>
                <a:lnTo>
                  <a:pt x="3746" y="1181"/>
                </a:lnTo>
              </a:path>
            </a:pathLst>
          </a:custGeom>
          <a:noFill/>
          <a:ln w="38100" cap="rnd">
            <a:solidFill>
              <a:schemeClr val="bg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38A4BD04-53F6-E734-8ECA-548578A8FFA5}"/>
              </a:ext>
            </a:extLst>
          </p:cNvPr>
          <p:cNvSpPr>
            <a:spLocks/>
          </p:cNvSpPr>
          <p:nvPr/>
        </p:nvSpPr>
        <p:spPr bwMode="auto">
          <a:xfrm>
            <a:off x="1817461" y="3102021"/>
            <a:ext cx="5946775" cy="1382713"/>
          </a:xfrm>
          <a:custGeom>
            <a:avLst/>
            <a:gdLst>
              <a:gd name="T0" fmla="*/ 0 w 3746"/>
              <a:gd name="T1" fmla="*/ 0 h 871"/>
              <a:gd name="T2" fmla="*/ 104 w 3746"/>
              <a:gd name="T3" fmla="*/ 103 h 871"/>
              <a:gd name="T4" fmla="*/ 209 w 3746"/>
              <a:gd name="T5" fmla="*/ 103 h 871"/>
              <a:gd name="T6" fmla="*/ 312 w 3746"/>
              <a:gd name="T7" fmla="*/ 207 h 871"/>
              <a:gd name="T8" fmla="*/ 417 w 3746"/>
              <a:gd name="T9" fmla="*/ 259 h 871"/>
              <a:gd name="T10" fmla="*/ 520 w 3746"/>
              <a:gd name="T11" fmla="*/ 311 h 871"/>
              <a:gd name="T12" fmla="*/ 625 w 3746"/>
              <a:gd name="T13" fmla="*/ 414 h 871"/>
              <a:gd name="T14" fmla="*/ 728 w 3746"/>
              <a:gd name="T15" fmla="*/ 311 h 871"/>
              <a:gd name="T16" fmla="*/ 833 w 3746"/>
              <a:gd name="T17" fmla="*/ 233 h 871"/>
              <a:gd name="T18" fmla="*/ 937 w 3746"/>
              <a:gd name="T19" fmla="*/ 181 h 871"/>
              <a:gd name="T20" fmla="*/ 1041 w 3746"/>
              <a:gd name="T21" fmla="*/ 311 h 871"/>
              <a:gd name="T22" fmla="*/ 1145 w 3746"/>
              <a:gd name="T23" fmla="*/ 518 h 871"/>
              <a:gd name="T24" fmla="*/ 1249 w 3746"/>
              <a:gd name="T25" fmla="*/ 560 h 871"/>
              <a:gd name="T26" fmla="*/ 1353 w 3746"/>
              <a:gd name="T27" fmla="*/ 596 h 871"/>
              <a:gd name="T28" fmla="*/ 1456 w 3746"/>
              <a:gd name="T29" fmla="*/ 570 h 871"/>
              <a:gd name="T30" fmla="*/ 1561 w 3746"/>
              <a:gd name="T31" fmla="*/ 653 h 871"/>
              <a:gd name="T32" fmla="*/ 1664 w 3746"/>
              <a:gd name="T33" fmla="*/ 794 h 871"/>
              <a:gd name="T34" fmla="*/ 1769 w 3746"/>
              <a:gd name="T35" fmla="*/ 871 h 871"/>
              <a:gd name="T36" fmla="*/ 1873 w 3746"/>
              <a:gd name="T37" fmla="*/ 788 h 871"/>
              <a:gd name="T38" fmla="*/ 1977 w 3746"/>
              <a:gd name="T39" fmla="*/ 814 h 871"/>
              <a:gd name="T40" fmla="*/ 2081 w 3746"/>
              <a:gd name="T41" fmla="*/ 716 h 871"/>
              <a:gd name="T42" fmla="*/ 2186 w 3746"/>
              <a:gd name="T43" fmla="*/ 664 h 871"/>
              <a:gd name="T44" fmla="*/ 2289 w 3746"/>
              <a:gd name="T45" fmla="*/ 757 h 871"/>
              <a:gd name="T46" fmla="*/ 2394 w 3746"/>
              <a:gd name="T47" fmla="*/ 866 h 871"/>
              <a:gd name="T48" fmla="*/ 2497 w 3746"/>
              <a:gd name="T49" fmla="*/ 725 h 871"/>
              <a:gd name="T50" fmla="*/ 2602 w 3746"/>
              <a:gd name="T51" fmla="*/ 783 h 871"/>
              <a:gd name="T52" fmla="*/ 2705 w 3746"/>
              <a:gd name="T53" fmla="*/ 684 h 871"/>
              <a:gd name="T54" fmla="*/ 2809 w 3746"/>
              <a:gd name="T55" fmla="*/ 674 h 871"/>
              <a:gd name="T56" fmla="*/ 2913 w 3746"/>
              <a:gd name="T57" fmla="*/ 705 h 871"/>
              <a:gd name="T58" fmla="*/ 3017 w 3746"/>
              <a:gd name="T59" fmla="*/ 783 h 871"/>
              <a:gd name="T60" fmla="*/ 3122 w 3746"/>
              <a:gd name="T61" fmla="*/ 638 h 871"/>
              <a:gd name="T62" fmla="*/ 3225 w 3746"/>
              <a:gd name="T63" fmla="*/ 612 h 871"/>
              <a:gd name="T64" fmla="*/ 3330 w 3746"/>
              <a:gd name="T65" fmla="*/ 576 h 871"/>
              <a:gd name="T66" fmla="*/ 3433 w 3746"/>
              <a:gd name="T67" fmla="*/ 674 h 871"/>
              <a:gd name="T68" fmla="*/ 3538 w 3746"/>
              <a:gd name="T69" fmla="*/ 606 h 871"/>
              <a:gd name="T70" fmla="*/ 3641 w 3746"/>
              <a:gd name="T71" fmla="*/ 591 h 871"/>
              <a:gd name="T72" fmla="*/ 3746 w 3746"/>
              <a:gd name="T73" fmla="*/ 695 h 8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46" h="871">
                <a:moveTo>
                  <a:pt x="0" y="0"/>
                </a:moveTo>
                <a:lnTo>
                  <a:pt x="104" y="103"/>
                </a:lnTo>
                <a:lnTo>
                  <a:pt x="209" y="103"/>
                </a:lnTo>
                <a:lnTo>
                  <a:pt x="312" y="207"/>
                </a:lnTo>
                <a:lnTo>
                  <a:pt x="417" y="259"/>
                </a:lnTo>
                <a:lnTo>
                  <a:pt x="520" y="311"/>
                </a:lnTo>
                <a:lnTo>
                  <a:pt x="625" y="414"/>
                </a:lnTo>
                <a:lnTo>
                  <a:pt x="728" y="311"/>
                </a:lnTo>
                <a:lnTo>
                  <a:pt x="833" y="233"/>
                </a:lnTo>
                <a:lnTo>
                  <a:pt x="937" y="181"/>
                </a:lnTo>
                <a:lnTo>
                  <a:pt x="1041" y="311"/>
                </a:lnTo>
                <a:lnTo>
                  <a:pt x="1145" y="518"/>
                </a:lnTo>
                <a:lnTo>
                  <a:pt x="1249" y="560"/>
                </a:lnTo>
                <a:lnTo>
                  <a:pt x="1353" y="596"/>
                </a:lnTo>
                <a:lnTo>
                  <a:pt x="1456" y="570"/>
                </a:lnTo>
                <a:lnTo>
                  <a:pt x="1561" y="653"/>
                </a:lnTo>
                <a:lnTo>
                  <a:pt x="1664" y="794"/>
                </a:lnTo>
                <a:lnTo>
                  <a:pt x="1769" y="871"/>
                </a:lnTo>
                <a:lnTo>
                  <a:pt x="1873" y="788"/>
                </a:lnTo>
                <a:lnTo>
                  <a:pt x="1977" y="814"/>
                </a:lnTo>
                <a:lnTo>
                  <a:pt x="2081" y="716"/>
                </a:lnTo>
                <a:lnTo>
                  <a:pt x="2186" y="664"/>
                </a:lnTo>
                <a:lnTo>
                  <a:pt x="2289" y="757"/>
                </a:lnTo>
                <a:lnTo>
                  <a:pt x="2394" y="866"/>
                </a:lnTo>
                <a:lnTo>
                  <a:pt x="2497" y="725"/>
                </a:lnTo>
                <a:lnTo>
                  <a:pt x="2602" y="783"/>
                </a:lnTo>
                <a:lnTo>
                  <a:pt x="2705" y="684"/>
                </a:lnTo>
                <a:lnTo>
                  <a:pt x="2809" y="674"/>
                </a:lnTo>
                <a:lnTo>
                  <a:pt x="2913" y="705"/>
                </a:lnTo>
                <a:lnTo>
                  <a:pt x="3017" y="783"/>
                </a:lnTo>
                <a:lnTo>
                  <a:pt x="3122" y="638"/>
                </a:lnTo>
                <a:lnTo>
                  <a:pt x="3225" y="612"/>
                </a:lnTo>
                <a:lnTo>
                  <a:pt x="3330" y="576"/>
                </a:lnTo>
                <a:lnTo>
                  <a:pt x="3433" y="674"/>
                </a:lnTo>
                <a:lnTo>
                  <a:pt x="3538" y="606"/>
                </a:lnTo>
                <a:lnTo>
                  <a:pt x="3641" y="591"/>
                </a:lnTo>
                <a:lnTo>
                  <a:pt x="3746" y="695"/>
                </a:lnTo>
              </a:path>
            </a:pathLst>
          </a:custGeom>
          <a:noFill/>
          <a:ln w="38100" cap="rnd">
            <a:solidFill>
              <a:srgbClr val="00B05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D4ACD4B7-6B7E-26EC-B8EB-3A2BCD8B01EE}"/>
              </a:ext>
            </a:extLst>
          </p:cNvPr>
          <p:cNvSpPr>
            <a:spLocks/>
          </p:cNvSpPr>
          <p:nvPr/>
        </p:nvSpPr>
        <p:spPr bwMode="auto">
          <a:xfrm>
            <a:off x="1817461" y="3554458"/>
            <a:ext cx="5946775" cy="1366838"/>
          </a:xfrm>
          <a:custGeom>
            <a:avLst/>
            <a:gdLst>
              <a:gd name="T0" fmla="*/ 0 w 3746"/>
              <a:gd name="T1" fmla="*/ 0 h 861"/>
              <a:gd name="T2" fmla="*/ 104 w 3746"/>
              <a:gd name="T3" fmla="*/ 77 h 861"/>
              <a:gd name="T4" fmla="*/ 209 w 3746"/>
              <a:gd name="T5" fmla="*/ 207 h 861"/>
              <a:gd name="T6" fmla="*/ 312 w 3746"/>
              <a:gd name="T7" fmla="*/ 181 h 861"/>
              <a:gd name="T8" fmla="*/ 417 w 3746"/>
              <a:gd name="T9" fmla="*/ 155 h 861"/>
              <a:gd name="T10" fmla="*/ 520 w 3746"/>
              <a:gd name="T11" fmla="*/ 77 h 861"/>
              <a:gd name="T12" fmla="*/ 625 w 3746"/>
              <a:gd name="T13" fmla="*/ 129 h 861"/>
              <a:gd name="T14" fmla="*/ 728 w 3746"/>
              <a:gd name="T15" fmla="*/ 129 h 861"/>
              <a:gd name="T16" fmla="*/ 833 w 3746"/>
              <a:gd name="T17" fmla="*/ 285 h 861"/>
              <a:gd name="T18" fmla="*/ 937 w 3746"/>
              <a:gd name="T19" fmla="*/ 311 h 861"/>
              <a:gd name="T20" fmla="*/ 1041 w 3746"/>
              <a:gd name="T21" fmla="*/ 466 h 861"/>
              <a:gd name="T22" fmla="*/ 1145 w 3746"/>
              <a:gd name="T23" fmla="*/ 674 h 861"/>
              <a:gd name="T24" fmla="*/ 1249 w 3746"/>
              <a:gd name="T25" fmla="*/ 799 h 861"/>
              <a:gd name="T26" fmla="*/ 1353 w 3746"/>
              <a:gd name="T27" fmla="*/ 861 h 861"/>
              <a:gd name="T28" fmla="*/ 1456 w 3746"/>
              <a:gd name="T29" fmla="*/ 752 h 861"/>
              <a:gd name="T30" fmla="*/ 1561 w 3746"/>
              <a:gd name="T31" fmla="*/ 803 h 861"/>
              <a:gd name="T32" fmla="*/ 1664 w 3746"/>
              <a:gd name="T33" fmla="*/ 715 h 861"/>
              <a:gd name="T34" fmla="*/ 1769 w 3746"/>
              <a:gd name="T35" fmla="*/ 617 h 861"/>
              <a:gd name="T36" fmla="*/ 1873 w 3746"/>
              <a:gd name="T37" fmla="*/ 518 h 861"/>
              <a:gd name="T38" fmla="*/ 1977 w 3746"/>
              <a:gd name="T39" fmla="*/ 466 h 861"/>
              <a:gd name="T40" fmla="*/ 2081 w 3746"/>
              <a:gd name="T41" fmla="*/ 477 h 861"/>
              <a:gd name="T42" fmla="*/ 2186 w 3746"/>
              <a:gd name="T43" fmla="*/ 565 h 861"/>
              <a:gd name="T44" fmla="*/ 2289 w 3746"/>
              <a:gd name="T45" fmla="*/ 544 h 861"/>
              <a:gd name="T46" fmla="*/ 2394 w 3746"/>
              <a:gd name="T47" fmla="*/ 643 h 861"/>
              <a:gd name="T48" fmla="*/ 2497 w 3746"/>
              <a:gd name="T49" fmla="*/ 726 h 861"/>
              <a:gd name="T50" fmla="*/ 2602 w 3746"/>
              <a:gd name="T51" fmla="*/ 747 h 861"/>
              <a:gd name="T52" fmla="*/ 2705 w 3746"/>
              <a:gd name="T53" fmla="*/ 705 h 861"/>
              <a:gd name="T54" fmla="*/ 2809 w 3746"/>
              <a:gd name="T55" fmla="*/ 674 h 861"/>
              <a:gd name="T56" fmla="*/ 2913 w 3746"/>
              <a:gd name="T57" fmla="*/ 457 h 861"/>
              <a:gd name="T58" fmla="*/ 3017 w 3746"/>
              <a:gd name="T59" fmla="*/ 524 h 861"/>
              <a:gd name="T60" fmla="*/ 3122 w 3746"/>
              <a:gd name="T61" fmla="*/ 539 h 861"/>
              <a:gd name="T62" fmla="*/ 3225 w 3746"/>
              <a:gd name="T63" fmla="*/ 498 h 861"/>
              <a:gd name="T64" fmla="*/ 3330 w 3746"/>
              <a:gd name="T65" fmla="*/ 492 h 861"/>
              <a:gd name="T66" fmla="*/ 3433 w 3746"/>
              <a:gd name="T67" fmla="*/ 602 h 861"/>
              <a:gd name="T68" fmla="*/ 3538 w 3746"/>
              <a:gd name="T69" fmla="*/ 648 h 861"/>
              <a:gd name="T70" fmla="*/ 3641 w 3746"/>
              <a:gd name="T71" fmla="*/ 648 h 861"/>
              <a:gd name="T72" fmla="*/ 3746 w 3746"/>
              <a:gd name="T73" fmla="*/ 529 h 8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46" h="861">
                <a:moveTo>
                  <a:pt x="0" y="0"/>
                </a:moveTo>
                <a:lnTo>
                  <a:pt x="104" y="77"/>
                </a:lnTo>
                <a:lnTo>
                  <a:pt x="209" y="207"/>
                </a:lnTo>
                <a:lnTo>
                  <a:pt x="312" y="181"/>
                </a:lnTo>
                <a:lnTo>
                  <a:pt x="417" y="155"/>
                </a:lnTo>
                <a:lnTo>
                  <a:pt x="520" y="77"/>
                </a:lnTo>
                <a:lnTo>
                  <a:pt x="625" y="129"/>
                </a:lnTo>
                <a:lnTo>
                  <a:pt x="728" y="129"/>
                </a:lnTo>
                <a:lnTo>
                  <a:pt x="833" y="285"/>
                </a:lnTo>
                <a:lnTo>
                  <a:pt x="937" y="311"/>
                </a:lnTo>
                <a:lnTo>
                  <a:pt x="1041" y="466"/>
                </a:lnTo>
                <a:lnTo>
                  <a:pt x="1145" y="674"/>
                </a:lnTo>
                <a:lnTo>
                  <a:pt x="1249" y="799"/>
                </a:lnTo>
                <a:lnTo>
                  <a:pt x="1353" y="861"/>
                </a:lnTo>
                <a:lnTo>
                  <a:pt x="1456" y="752"/>
                </a:lnTo>
                <a:lnTo>
                  <a:pt x="1561" y="803"/>
                </a:lnTo>
                <a:lnTo>
                  <a:pt x="1664" y="715"/>
                </a:lnTo>
                <a:lnTo>
                  <a:pt x="1769" y="617"/>
                </a:lnTo>
                <a:lnTo>
                  <a:pt x="1873" y="518"/>
                </a:lnTo>
                <a:lnTo>
                  <a:pt x="1977" y="466"/>
                </a:lnTo>
                <a:lnTo>
                  <a:pt x="2081" y="477"/>
                </a:lnTo>
                <a:lnTo>
                  <a:pt x="2186" y="565"/>
                </a:lnTo>
                <a:lnTo>
                  <a:pt x="2289" y="544"/>
                </a:lnTo>
                <a:lnTo>
                  <a:pt x="2394" y="643"/>
                </a:lnTo>
                <a:lnTo>
                  <a:pt x="2497" y="726"/>
                </a:lnTo>
                <a:lnTo>
                  <a:pt x="2602" y="747"/>
                </a:lnTo>
                <a:lnTo>
                  <a:pt x="2705" y="705"/>
                </a:lnTo>
                <a:lnTo>
                  <a:pt x="2809" y="674"/>
                </a:lnTo>
                <a:lnTo>
                  <a:pt x="2913" y="457"/>
                </a:lnTo>
                <a:lnTo>
                  <a:pt x="3017" y="524"/>
                </a:lnTo>
                <a:lnTo>
                  <a:pt x="3122" y="539"/>
                </a:lnTo>
                <a:lnTo>
                  <a:pt x="3225" y="498"/>
                </a:lnTo>
                <a:lnTo>
                  <a:pt x="3330" y="492"/>
                </a:lnTo>
                <a:lnTo>
                  <a:pt x="3433" y="602"/>
                </a:lnTo>
                <a:lnTo>
                  <a:pt x="3538" y="648"/>
                </a:lnTo>
                <a:lnTo>
                  <a:pt x="3641" y="648"/>
                </a:lnTo>
                <a:lnTo>
                  <a:pt x="3746" y="529"/>
                </a:lnTo>
              </a:path>
            </a:pathLst>
          </a:custGeom>
          <a:noFill/>
          <a:ln w="38100" cap="rnd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46FFEF95-0E78-F73E-F6C6-5A4FB442CAD4}"/>
              </a:ext>
            </a:extLst>
          </p:cNvPr>
          <p:cNvSpPr>
            <a:spLocks/>
          </p:cNvSpPr>
          <p:nvPr/>
        </p:nvSpPr>
        <p:spPr bwMode="auto">
          <a:xfrm>
            <a:off x="1817461" y="4006896"/>
            <a:ext cx="5946775" cy="411163"/>
          </a:xfrm>
          <a:custGeom>
            <a:avLst/>
            <a:gdLst>
              <a:gd name="T0" fmla="*/ 0 w 3746"/>
              <a:gd name="T1" fmla="*/ 104 h 259"/>
              <a:gd name="T2" fmla="*/ 104 w 3746"/>
              <a:gd name="T3" fmla="*/ 52 h 259"/>
              <a:gd name="T4" fmla="*/ 209 w 3746"/>
              <a:gd name="T5" fmla="*/ 52 h 259"/>
              <a:gd name="T6" fmla="*/ 312 w 3746"/>
              <a:gd name="T7" fmla="*/ 26 h 259"/>
              <a:gd name="T8" fmla="*/ 417 w 3746"/>
              <a:gd name="T9" fmla="*/ 104 h 259"/>
              <a:gd name="T10" fmla="*/ 520 w 3746"/>
              <a:gd name="T11" fmla="*/ 0 h 259"/>
              <a:gd name="T12" fmla="*/ 625 w 3746"/>
              <a:gd name="T13" fmla="*/ 155 h 259"/>
              <a:gd name="T14" fmla="*/ 728 w 3746"/>
              <a:gd name="T15" fmla="*/ 52 h 259"/>
              <a:gd name="T16" fmla="*/ 833 w 3746"/>
              <a:gd name="T17" fmla="*/ 207 h 259"/>
              <a:gd name="T18" fmla="*/ 937 w 3746"/>
              <a:gd name="T19" fmla="*/ 259 h 259"/>
              <a:gd name="T20" fmla="*/ 1041 w 3746"/>
              <a:gd name="T21" fmla="*/ 181 h 259"/>
              <a:gd name="T22" fmla="*/ 1145 w 3746"/>
              <a:gd name="T23" fmla="*/ 0 h 259"/>
              <a:gd name="T24" fmla="*/ 1249 w 3746"/>
              <a:gd name="T25" fmla="*/ 78 h 259"/>
              <a:gd name="T26" fmla="*/ 1353 w 3746"/>
              <a:gd name="T27" fmla="*/ 155 h 259"/>
              <a:gd name="T28" fmla="*/ 1456 w 3746"/>
              <a:gd name="T29" fmla="*/ 207 h 259"/>
              <a:gd name="T30" fmla="*/ 1561 w 3746"/>
              <a:gd name="T31" fmla="*/ 146 h 259"/>
              <a:gd name="T32" fmla="*/ 1664 w 3746"/>
              <a:gd name="T33" fmla="*/ 135 h 259"/>
              <a:gd name="T34" fmla="*/ 1769 w 3746"/>
              <a:gd name="T35" fmla="*/ 155 h 259"/>
              <a:gd name="T36" fmla="*/ 1873 w 3746"/>
              <a:gd name="T37" fmla="*/ 146 h 259"/>
              <a:gd name="T38" fmla="*/ 1977 w 3746"/>
              <a:gd name="T39" fmla="*/ 21 h 259"/>
              <a:gd name="T40" fmla="*/ 2081 w 3746"/>
              <a:gd name="T41" fmla="*/ 104 h 259"/>
              <a:gd name="T42" fmla="*/ 2186 w 3746"/>
              <a:gd name="T43" fmla="*/ 129 h 259"/>
              <a:gd name="T44" fmla="*/ 2289 w 3746"/>
              <a:gd name="T45" fmla="*/ 57 h 259"/>
              <a:gd name="T46" fmla="*/ 2394 w 3746"/>
              <a:gd name="T47" fmla="*/ 78 h 259"/>
              <a:gd name="T48" fmla="*/ 2497 w 3746"/>
              <a:gd name="T49" fmla="*/ 146 h 259"/>
              <a:gd name="T50" fmla="*/ 2602 w 3746"/>
              <a:gd name="T51" fmla="*/ 52 h 259"/>
              <a:gd name="T52" fmla="*/ 2705 w 3746"/>
              <a:gd name="T53" fmla="*/ 73 h 259"/>
              <a:gd name="T54" fmla="*/ 2809 w 3746"/>
              <a:gd name="T55" fmla="*/ 129 h 259"/>
              <a:gd name="T56" fmla="*/ 2913 w 3746"/>
              <a:gd name="T57" fmla="*/ 68 h 259"/>
              <a:gd name="T58" fmla="*/ 3017 w 3746"/>
              <a:gd name="T59" fmla="*/ 62 h 259"/>
              <a:gd name="T60" fmla="*/ 3122 w 3746"/>
              <a:gd name="T61" fmla="*/ 62 h 259"/>
              <a:gd name="T62" fmla="*/ 3225 w 3746"/>
              <a:gd name="T63" fmla="*/ 57 h 259"/>
              <a:gd name="T64" fmla="*/ 3330 w 3746"/>
              <a:gd name="T65" fmla="*/ 47 h 259"/>
              <a:gd name="T66" fmla="*/ 3433 w 3746"/>
              <a:gd name="T67" fmla="*/ 32 h 259"/>
              <a:gd name="T68" fmla="*/ 3538 w 3746"/>
              <a:gd name="T69" fmla="*/ 16 h 259"/>
              <a:gd name="T70" fmla="*/ 3641 w 3746"/>
              <a:gd name="T71" fmla="*/ 10 h 259"/>
              <a:gd name="T72" fmla="*/ 3746 w 3746"/>
              <a:gd name="T73" fmla="*/ 114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46" h="259">
                <a:moveTo>
                  <a:pt x="0" y="104"/>
                </a:moveTo>
                <a:lnTo>
                  <a:pt x="104" y="52"/>
                </a:lnTo>
                <a:lnTo>
                  <a:pt x="209" y="52"/>
                </a:lnTo>
                <a:lnTo>
                  <a:pt x="312" y="26"/>
                </a:lnTo>
                <a:lnTo>
                  <a:pt x="417" y="104"/>
                </a:lnTo>
                <a:lnTo>
                  <a:pt x="520" y="0"/>
                </a:lnTo>
                <a:lnTo>
                  <a:pt x="625" y="155"/>
                </a:lnTo>
                <a:lnTo>
                  <a:pt x="728" y="52"/>
                </a:lnTo>
                <a:lnTo>
                  <a:pt x="833" y="207"/>
                </a:lnTo>
                <a:lnTo>
                  <a:pt x="937" y="259"/>
                </a:lnTo>
                <a:lnTo>
                  <a:pt x="1041" y="181"/>
                </a:lnTo>
                <a:lnTo>
                  <a:pt x="1145" y="0"/>
                </a:lnTo>
                <a:lnTo>
                  <a:pt x="1249" y="78"/>
                </a:lnTo>
                <a:lnTo>
                  <a:pt x="1353" y="155"/>
                </a:lnTo>
                <a:lnTo>
                  <a:pt x="1456" y="207"/>
                </a:lnTo>
                <a:lnTo>
                  <a:pt x="1561" y="146"/>
                </a:lnTo>
                <a:lnTo>
                  <a:pt x="1664" y="135"/>
                </a:lnTo>
                <a:lnTo>
                  <a:pt x="1769" y="155"/>
                </a:lnTo>
                <a:lnTo>
                  <a:pt x="1873" y="146"/>
                </a:lnTo>
                <a:lnTo>
                  <a:pt x="1977" y="21"/>
                </a:lnTo>
                <a:lnTo>
                  <a:pt x="2081" y="104"/>
                </a:lnTo>
                <a:lnTo>
                  <a:pt x="2186" y="129"/>
                </a:lnTo>
                <a:lnTo>
                  <a:pt x="2289" y="57"/>
                </a:lnTo>
                <a:lnTo>
                  <a:pt x="2394" y="78"/>
                </a:lnTo>
                <a:lnTo>
                  <a:pt x="2497" y="146"/>
                </a:lnTo>
                <a:lnTo>
                  <a:pt x="2602" y="52"/>
                </a:lnTo>
                <a:lnTo>
                  <a:pt x="2705" y="73"/>
                </a:lnTo>
                <a:lnTo>
                  <a:pt x="2809" y="129"/>
                </a:lnTo>
                <a:lnTo>
                  <a:pt x="2913" y="68"/>
                </a:lnTo>
                <a:lnTo>
                  <a:pt x="3017" y="62"/>
                </a:lnTo>
                <a:lnTo>
                  <a:pt x="3122" y="62"/>
                </a:lnTo>
                <a:lnTo>
                  <a:pt x="3225" y="57"/>
                </a:lnTo>
                <a:lnTo>
                  <a:pt x="3330" y="47"/>
                </a:lnTo>
                <a:lnTo>
                  <a:pt x="3433" y="32"/>
                </a:lnTo>
                <a:lnTo>
                  <a:pt x="3538" y="16"/>
                </a:lnTo>
                <a:lnTo>
                  <a:pt x="3641" y="10"/>
                </a:lnTo>
                <a:lnTo>
                  <a:pt x="3746" y="114"/>
                </a:lnTo>
              </a:path>
            </a:pathLst>
          </a:custGeom>
          <a:noFill/>
          <a:ln w="38100" cap="rnd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9" name="Rectangle 13">
            <a:extLst>
              <a:ext uri="{FF2B5EF4-FFF2-40B4-BE49-F238E27FC236}">
                <a16:creationId xmlns:a16="http://schemas.microsoft.com/office/drawing/2014/main" id="{94089460-0818-078D-F3CB-B905CA6464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9764" y="5223704"/>
            <a:ext cx="2596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20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35</a:t>
            </a:r>
            <a:endParaRPr kumimoji="0" lang="pl-PL" altLang="pl-PL" sz="20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82E1350E-C739-662C-13D0-17267B6063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9764" y="4812542"/>
            <a:ext cx="2596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20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40</a:t>
            </a:r>
            <a:endParaRPr kumimoji="0" lang="pl-PL" altLang="pl-PL" sz="20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741C5314-6A80-93A3-4E59-17269761E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9764" y="4401379"/>
            <a:ext cx="2596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20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45</a:t>
            </a:r>
            <a:endParaRPr kumimoji="0" lang="pl-PL" altLang="pl-PL" sz="20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2" name="Rectangle 16">
            <a:extLst>
              <a:ext uri="{FF2B5EF4-FFF2-40B4-BE49-F238E27FC236}">
                <a16:creationId xmlns:a16="http://schemas.microsoft.com/office/drawing/2014/main" id="{67F4BFD2-CDD0-443E-0400-D5D7F1141F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9764" y="3990217"/>
            <a:ext cx="2596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20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50</a:t>
            </a:r>
            <a:endParaRPr kumimoji="0" lang="pl-PL" altLang="pl-PL" sz="20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DB4799FD-D741-5F9A-945D-CB3AC2E4CA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9764" y="3575879"/>
            <a:ext cx="2596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20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55</a:t>
            </a:r>
            <a:endParaRPr kumimoji="0" lang="pl-PL" altLang="pl-PL" sz="20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4" name="Rectangle 18">
            <a:extLst>
              <a:ext uri="{FF2B5EF4-FFF2-40B4-BE49-F238E27FC236}">
                <a16:creationId xmlns:a16="http://schemas.microsoft.com/office/drawing/2014/main" id="{DCA242E6-DB33-F787-AC87-8BE9FFB685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9764" y="3166304"/>
            <a:ext cx="2596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20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60</a:t>
            </a:r>
            <a:endParaRPr kumimoji="0" lang="pl-PL" altLang="pl-PL" sz="20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5" name="Rectangle 19">
            <a:extLst>
              <a:ext uri="{FF2B5EF4-FFF2-40B4-BE49-F238E27FC236}">
                <a16:creationId xmlns:a16="http://schemas.microsoft.com/office/drawing/2014/main" id="{B0276DC2-7E6B-3EF4-D005-80E268500D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9764" y="2755142"/>
            <a:ext cx="2596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20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65</a:t>
            </a:r>
            <a:endParaRPr kumimoji="0" lang="pl-PL" altLang="pl-PL" sz="20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833DD65F-C2D7-8B93-9978-9B074263C6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9764" y="2343979"/>
            <a:ext cx="2596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2000" b="0" i="0" u="none" strike="noStrike" cap="none" normalizeH="0" baseline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70</a:t>
            </a:r>
            <a:endParaRPr kumimoji="0" lang="pl-PL" altLang="pl-PL" sz="2000" b="0" i="0" u="none" strike="noStrike" cap="none" normalizeH="0" baseline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27" name="Rectangle 21">
            <a:extLst>
              <a:ext uri="{FF2B5EF4-FFF2-40B4-BE49-F238E27FC236}">
                <a16:creationId xmlns:a16="http://schemas.microsoft.com/office/drawing/2014/main" id="{0AAAF04A-45FA-F9A5-EBB5-8222EDCBCE2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633459" y="5743621"/>
            <a:ext cx="4167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Jul 21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8" name="Rectangle 22">
            <a:extLst>
              <a:ext uri="{FF2B5EF4-FFF2-40B4-BE49-F238E27FC236}">
                <a16:creationId xmlns:a16="http://schemas.microsoft.com/office/drawing/2014/main" id="{6BC7DC39-68ED-512F-4D7F-A5FCEF58AB0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963659" y="5779689"/>
            <a:ext cx="48891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ep 21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9" name="Rectangle 23">
            <a:extLst>
              <a:ext uri="{FF2B5EF4-FFF2-40B4-BE49-F238E27FC236}">
                <a16:creationId xmlns:a16="http://schemas.microsoft.com/office/drawing/2014/main" id="{95AED7DA-9AE1-58BE-338E-9CC697836C5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293859" y="5792128"/>
            <a:ext cx="51379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ov 21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0" name="Rectangle 24">
            <a:extLst>
              <a:ext uri="{FF2B5EF4-FFF2-40B4-BE49-F238E27FC236}">
                <a16:creationId xmlns:a16="http://schemas.microsoft.com/office/drawing/2014/main" id="{ACB2BEA9-D05D-53B9-2035-E260E0C3B76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624059" y="5766063"/>
            <a:ext cx="4616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Jan 22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1" name="Rectangle 25">
            <a:extLst>
              <a:ext uri="{FF2B5EF4-FFF2-40B4-BE49-F238E27FC236}">
                <a16:creationId xmlns:a16="http://schemas.microsoft.com/office/drawing/2014/main" id="{9348F666-E584-E2D2-0A8A-9EA591BB7E0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954259" y="5798123"/>
            <a:ext cx="52578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ar 22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2" name="Rectangle 26">
            <a:extLst>
              <a:ext uri="{FF2B5EF4-FFF2-40B4-BE49-F238E27FC236}">
                <a16:creationId xmlns:a16="http://schemas.microsoft.com/office/drawing/2014/main" id="{63BF2050-BB0C-52B4-83B1-93565022A57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284459" y="5806074"/>
            <a:ext cx="54168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ay 22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3" name="Rectangle 27">
            <a:extLst>
              <a:ext uri="{FF2B5EF4-FFF2-40B4-BE49-F238E27FC236}">
                <a16:creationId xmlns:a16="http://schemas.microsoft.com/office/drawing/2014/main" id="{449DFA0F-A9FA-1952-C229-EDC8F187F02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614659" y="5743621"/>
            <a:ext cx="4167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Jul 22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4" name="Rectangle 28">
            <a:extLst>
              <a:ext uri="{FF2B5EF4-FFF2-40B4-BE49-F238E27FC236}">
                <a16:creationId xmlns:a16="http://schemas.microsoft.com/office/drawing/2014/main" id="{B11A56D0-4973-1606-2E9B-DD8ACB6152C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944859" y="5779689"/>
            <a:ext cx="48891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ep 22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5" name="Rectangle 29">
            <a:extLst>
              <a:ext uri="{FF2B5EF4-FFF2-40B4-BE49-F238E27FC236}">
                <a16:creationId xmlns:a16="http://schemas.microsoft.com/office/drawing/2014/main" id="{F9554E22-0C31-E40E-80CE-C94337D37136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275059" y="5792128"/>
            <a:ext cx="51379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ov 22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6" name="Rectangle 30">
            <a:extLst>
              <a:ext uri="{FF2B5EF4-FFF2-40B4-BE49-F238E27FC236}">
                <a16:creationId xmlns:a16="http://schemas.microsoft.com/office/drawing/2014/main" id="{1D5FDE97-BB5E-8FF7-D440-A7367A3B1FF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605259" y="5766063"/>
            <a:ext cx="4616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Jan 23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7" name="Rectangle 31">
            <a:extLst>
              <a:ext uri="{FF2B5EF4-FFF2-40B4-BE49-F238E27FC236}">
                <a16:creationId xmlns:a16="http://schemas.microsoft.com/office/drawing/2014/main" id="{E0AD503B-2136-27AF-84E6-69E292E3AEB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937047" y="5798123"/>
            <a:ext cx="52578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ar 23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8" name="Rectangle 32">
            <a:extLst>
              <a:ext uri="{FF2B5EF4-FFF2-40B4-BE49-F238E27FC236}">
                <a16:creationId xmlns:a16="http://schemas.microsoft.com/office/drawing/2014/main" id="{41CC3769-3220-8E54-1D03-53F79F04D70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67247" y="5806074"/>
            <a:ext cx="54168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ay 23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9" name="Rectangle 33">
            <a:extLst>
              <a:ext uri="{FF2B5EF4-FFF2-40B4-BE49-F238E27FC236}">
                <a16:creationId xmlns:a16="http://schemas.microsoft.com/office/drawing/2014/main" id="{B76B83B6-40D2-3DD8-69BF-B414CC69EA2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597447" y="5746026"/>
            <a:ext cx="42159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Jul.23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0" name="Rectangle 34">
            <a:extLst>
              <a:ext uri="{FF2B5EF4-FFF2-40B4-BE49-F238E27FC236}">
                <a16:creationId xmlns:a16="http://schemas.microsoft.com/office/drawing/2014/main" id="{23548C05-FFBC-FFB8-A4CD-07D16CC6954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927647" y="5782093"/>
            <a:ext cx="49372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ep.23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1" name="Rectangle 35">
            <a:extLst>
              <a:ext uri="{FF2B5EF4-FFF2-40B4-BE49-F238E27FC236}">
                <a16:creationId xmlns:a16="http://schemas.microsoft.com/office/drawing/2014/main" id="{9D85F994-9271-4F8D-AA64-127508B52C4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6257847" y="5787159"/>
            <a:ext cx="50385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ov.23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2" name="Rectangle 36">
            <a:extLst>
              <a:ext uri="{FF2B5EF4-FFF2-40B4-BE49-F238E27FC236}">
                <a16:creationId xmlns:a16="http://schemas.microsoft.com/office/drawing/2014/main" id="{27625BAE-5BB0-9628-2A21-972CC94F353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6588047" y="5768468"/>
            <a:ext cx="46647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Jan.24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3" name="Rectangle 37">
            <a:extLst>
              <a:ext uri="{FF2B5EF4-FFF2-40B4-BE49-F238E27FC236}">
                <a16:creationId xmlns:a16="http://schemas.microsoft.com/office/drawing/2014/main" id="{704EB813-3A19-576B-096A-A49A5B8EE0F8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6918247" y="5791487"/>
            <a:ext cx="5125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ar.24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4" name="Rectangle 38">
            <a:extLst>
              <a:ext uri="{FF2B5EF4-FFF2-40B4-BE49-F238E27FC236}">
                <a16:creationId xmlns:a16="http://schemas.microsoft.com/office/drawing/2014/main" id="{08C19713-DCC0-9A46-F3A1-6E6D9C0D673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7248447" y="5802547"/>
            <a:ext cx="53463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ay.24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5" name="Rectangle 39">
            <a:extLst>
              <a:ext uri="{FF2B5EF4-FFF2-40B4-BE49-F238E27FC236}">
                <a16:creationId xmlns:a16="http://schemas.microsoft.com/office/drawing/2014/main" id="{7DD8AD4E-5946-9595-257E-DC6889C3708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7578647" y="5746025"/>
            <a:ext cx="42159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Jul.24</a:t>
            </a:r>
            <a:endParaRPr kumimoji="0" lang="pl-PL" altLang="pl-PL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6" name="Rectangle 40">
            <a:extLst>
              <a:ext uri="{FF2B5EF4-FFF2-40B4-BE49-F238E27FC236}">
                <a16:creationId xmlns:a16="http://schemas.microsoft.com/office/drawing/2014/main" id="{15FD9154-4772-D0C2-0749-661F113D35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6048" y="2047334"/>
            <a:ext cx="393806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2400" b="0" i="0" u="none" strike="noStrike" cap="none" normalizeH="0" baseline="0" dirty="0">
                <a:ln>
                  <a:noFill/>
                </a:ln>
                <a:solidFill>
                  <a:srgbClr val="FAF0A8"/>
                </a:solidFill>
                <a:effectLst/>
                <a:latin typeface="Calibri" panose="020F0502020204030204" pitchFamily="34" charset="0"/>
              </a:rPr>
              <a:t>PMI w przemyśle przetwórczym</a:t>
            </a:r>
            <a:endParaRPr kumimoji="0" lang="pl-PL" altLang="pl-PL" sz="2400" b="0" i="0" u="none" strike="noStrike" cap="none" normalizeH="0" baseline="0" dirty="0">
              <a:ln>
                <a:noFill/>
              </a:ln>
              <a:solidFill>
                <a:srgbClr val="FAF0A8"/>
              </a:solidFill>
              <a:effectLst/>
            </a:endParaRPr>
          </a:p>
        </p:txBody>
      </p:sp>
      <p:sp>
        <p:nvSpPr>
          <p:cNvPr id="47" name="Rectangle 62">
            <a:extLst>
              <a:ext uri="{FF2B5EF4-FFF2-40B4-BE49-F238E27FC236}">
                <a16:creationId xmlns:a16="http://schemas.microsoft.com/office/drawing/2014/main" id="{144D3A7C-58C7-2BDF-DC66-21659EECC0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8412" y="3797105"/>
            <a:ext cx="47397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600" b="1" i="0" u="none" strike="noStrike" cap="none" normalizeH="0" baseline="0" dirty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Chiny</a:t>
            </a:r>
            <a:endParaRPr kumimoji="0" lang="pl-PL" altLang="pl-PL" sz="1600" b="1" i="0" u="none" strike="noStrike" cap="none" normalizeH="0" baseline="0" dirty="0">
              <a:ln>
                <a:noFill/>
              </a:ln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3110354B-04ED-7376-9509-C6C6C4779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5132" y="3749185"/>
            <a:ext cx="35496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6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USA</a:t>
            </a:r>
            <a:endParaRPr kumimoji="0" lang="pl-PL" altLang="pl-PL" sz="16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E57A630B-6CE6-DDFF-5C0C-6FB100352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4604" y="4952501"/>
            <a:ext cx="63799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600" b="1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Niemcy</a:t>
            </a:r>
            <a:endParaRPr kumimoji="0" lang="pl-PL" altLang="pl-PL" sz="16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Rectangle 60">
            <a:extLst>
              <a:ext uri="{FF2B5EF4-FFF2-40B4-BE49-F238E27FC236}">
                <a16:creationId xmlns:a16="http://schemas.microsoft.com/office/drawing/2014/main" id="{18E04DC8-AB8B-1560-C8C1-0D747D3E98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2705" y="4891512"/>
            <a:ext cx="54399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6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Polska</a:t>
            </a:r>
            <a:endParaRPr kumimoji="0" lang="pl-PL" altLang="pl-PL" sz="160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94068252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47" grpId="0"/>
      <p:bldP spid="48" grpId="0"/>
      <p:bldP spid="49" grpId="0"/>
      <p:bldP spid="5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B4170A-A293-DE8B-304E-CA705750C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FF0000"/>
                </a:solidFill>
              </a:rPr>
              <a:t>Perspektywy</a:t>
            </a:r>
          </a:p>
        </p:txBody>
      </p:sp>
      <p:pic>
        <p:nvPicPr>
          <p:cNvPr id="4" name="Picture 2" descr="main product photo">
            <a:extLst>
              <a:ext uri="{FF2B5EF4-FFF2-40B4-BE49-F238E27FC236}">
                <a16:creationId xmlns:a16="http://schemas.microsoft.com/office/drawing/2014/main" id="{FE6202D8-C8BA-1B59-6AB6-BA1ABCE310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921" y="2004969"/>
            <a:ext cx="7772400" cy="471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EBE9664-3590-0B2F-091C-BF1EA4176A4A}"/>
              </a:ext>
            </a:extLst>
          </p:cNvPr>
          <p:cNvSpPr txBox="1"/>
          <p:nvPr/>
        </p:nvSpPr>
        <p:spPr>
          <a:xfrm>
            <a:off x="2550253" y="3313651"/>
            <a:ext cx="6078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5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B0BED2-E9E9-1500-6CED-244701F24F17}"/>
              </a:ext>
            </a:extLst>
          </p:cNvPr>
          <p:cNvSpPr txBox="1"/>
          <p:nvPr/>
        </p:nvSpPr>
        <p:spPr>
          <a:xfrm>
            <a:off x="6375632" y="3598877"/>
            <a:ext cx="6078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5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5546C5-B99C-0C20-6B6D-2D893E374CC9}"/>
              </a:ext>
            </a:extLst>
          </p:cNvPr>
          <p:cNvSpPr txBox="1"/>
          <p:nvPr/>
        </p:nvSpPr>
        <p:spPr>
          <a:xfrm>
            <a:off x="5985890" y="2877153"/>
            <a:ext cx="6078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5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037DE0-C897-4FAF-19BC-91A3A0C2A0E9}"/>
              </a:ext>
            </a:extLst>
          </p:cNvPr>
          <p:cNvSpPr txBox="1"/>
          <p:nvPr/>
        </p:nvSpPr>
        <p:spPr>
          <a:xfrm>
            <a:off x="4623390" y="3137212"/>
            <a:ext cx="6078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5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371255383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">
            <a:extLst>
              <a:ext uri="{FF2B5EF4-FFF2-40B4-BE49-F238E27FC236}">
                <a16:creationId xmlns:a16="http://schemas.microsoft.com/office/drawing/2014/main" id="{033947A8-9037-5C07-8A58-F47EE9188657}"/>
              </a:ext>
            </a:extLst>
          </p:cNvPr>
          <p:cNvSpPr txBox="1">
            <a:spLocks/>
          </p:cNvSpPr>
          <p:nvPr/>
        </p:nvSpPr>
        <p:spPr bwMode="auto">
          <a:xfrm>
            <a:off x="491459" y="1163830"/>
            <a:ext cx="8708577" cy="477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</a:defRPr>
            </a:lvl9pPr>
          </a:lstStyle>
          <a:p>
            <a:r>
              <a:rPr lang="pl-PL" sz="4000" kern="0" dirty="0">
                <a:solidFill>
                  <a:srgbClr val="FF0000"/>
                </a:solidFill>
                <a:latin typeface="+mn-lt"/>
              </a:rPr>
              <a:t>Dla przypomnienia: </a:t>
            </a:r>
            <a:br>
              <a:rPr lang="pl-PL" sz="4000" kern="0" dirty="0">
                <a:solidFill>
                  <a:srgbClr val="FF0000"/>
                </a:solidFill>
                <a:latin typeface="+mn-lt"/>
              </a:rPr>
            </a:br>
            <a:r>
              <a:rPr lang="pl-PL" sz="4000" kern="0" dirty="0">
                <a:solidFill>
                  <a:srgbClr val="FF0000"/>
                </a:solidFill>
                <a:latin typeface="+mn-lt"/>
              </a:rPr>
              <a:t>dlaczego świat jest dla nas tak ważny?</a:t>
            </a:r>
          </a:p>
        </p:txBody>
      </p:sp>
      <p:sp>
        <p:nvSpPr>
          <p:cNvPr id="45" name="Rectangle 41">
            <a:extLst>
              <a:ext uri="{FF2B5EF4-FFF2-40B4-BE49-F238E27FC236}">
                <a16:creationId xmlns:a16="http://schemas.microsoft.com/office/drawing/2014/main" id="{E075B472-A847-6933-D382-28F3BF444F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1519" y="5036104"/>
            <a:ext cx="10600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 b="1" dirty="0">
                <a:solidFill>
                  <a:srgbClr val="FFFF00"/>
                </a:solidFill>
                <a:latin typeface="Calibri" panose="020F0502020204030204" pitchFamily="34" charset="0"/>
              </a:rPr>
              <a:t>Strefa euro</a:t>
            </a:r>
            <a:endParaRPr lang="pl-PL" altLang="pl-PL" sz="1800" b="1" dirty="0">
              <a:solidFill>
                <a:srgbClr val="FFFF00"/>
              </a:solidFill>
            </a:endParaRPr>
          </a:p>
        </p:txBody>
      </p:sp>
      <p:sp>
        <p:nvSpPr>
          <p:cNvPr id="46" name="Rectangle 43">
            <a:extLst>
              <a:ext uri="{FF2B5EF4-FFF2-40B4-BE49-F238E27FC236}">
                <a16:creationId xmlns:a16="http://schemas.microsoft.com/office/drawing/2014/main" id="{70C90854-6365-35F4-8685-5CD9285F79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6864" y="3203786"/>
            <a:ext cx="6122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 b="1" dirty="0">
                <a:solidFill>
                  <a:srgbClr val="FF0000"/>
                </a:solidFill>
                <a:latin typeface="Calibri" panose="020F0502020204030204" pitchFamily="34" charset="0"/>
              </a:rPr>
              <a:t>Polska</a:t>
            </a:r>
            <a:endParaRPr lang="pl-PL" altLang="pl-PL" sz="1800" b="1" dirty="0">
              <a:solidFill>
                <a:srgbClr val="FF0000"/>
              </a:solidFill>
            </a:endParaRPr>
          </a:p>
        </p:txBody>
      </p:sp>
      <p:sp>
        <p:nvSpPr>
          <p:cNvPr id="47" name="Rectangle 43">
            <a:extLst>
              <a:ext uri="{FF2B5EF4-FFF2-40B4-BE49-F238E27FC236}">
                <a16:creationId xmlns:a16="http://schemas.microsoft.com/office/drawing/2014/main" id="{6534C350-F1DE-CAC1-60A6-D967083BC2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4018" y="5530954"/>
            <a:ext cx="880049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050" dirty="0">
                <a:solidFill>
                  <a:schemeClr val="bg1"/>
                </a:solidFill>
                <a:latin typeface="Calibri" panose="020F0502020204030204" pitchFamily="34" charset="0"/>
              </a:rPr>
              <a:t>Źródło: Eurostat</a:t>
            </a:r>
            <a:endParaRPr lang="pl-PL" altLang="pl-PL" sz="1350" dirty="0">
              <a:solidFill>
                <a:schemeClr val="bg1"/>
              </a:solidFill>
            </a:endParaRPr>
          </a:p>
        </p:txBody>
      </p:sp>
      <p:sp>
        <p:nvSpPr>
          <p:cNvPr id="48" name="Freeform 5">
            <a:extLst>
              <a:ext uri="{FF2B5EF4-FFF2-40B4-BE49-F238E27FC236}">
                <a16:creationId xmlns:a16="http://schemas.microsoft.com/office/drawing/2014/main" id="{543E698C-33BB-B515-1778-DFAA841D737A}"/>
              </a:ext>
            </a:extLst>
          </p:cNvPr>
          <p:cNvSpPr>
            <a:spLocks noEditPoints="1"/>
          </p:cNvSpPr>
          <p:nvPr/>
        </p:nvSpPr>
        <p:spPr bwMode="auto">
          <a:xfrm>
            <a:off x="1770449" y="2961243"/>
            <a:ext cx="4800600" cy="2731294"/>
          </a:xfrm>
          <a:custGeom>
            <a:avLst/>
            <a:gdLst>
              <a:gd name="T0" fmla="*/ 0 w 4032"/>
              <a:gd name="T1" fmla="*/ 2294 h 2294"/>
              <a:gd name="T2" fmla="*/ 4032 w 4032"/>
              <a:gd name="T3" fmla="*/ 2294 h 2294"/>
              <a:gd name="T4" fmla="*/ 0 w 4032"/>
              <a:gd name="T5" fmla="*/ 2008 h 2294"/>
              <a:gd name="T6" fmla="*/ 4032 w 4032"/>
              <a:gd name="T7" fmla="*/ 2008 h 2294"/>
              <a:gd name="T8" fmla="*/ 0 w 4032"/>
              <a:gd name="T9" fmla="*/ 1721 h 2294"/>
              <a:gd name="T10" fmla="*/ 4032 w 4032"/>
              <a:gd name="T11" fmla="*/ 1721 h 2294"/>
              <a:gd name="T12" fmla="*/ 0 w 4032"/>
              <a:gd name="T13" fmla="*/ 1435 h 2294"/>
              <a:gd name="T14" fmla="*/ 4032 w 4032"/>
              <a:gd name="T15" fmla="*/ 1435 h 2294"/>
              <a:gd name="T16" fmla="*/ 0 w 4032"/>
              <a:gd name="T17" fmla="*/ 861 h 2294"/>
              <a:gd name="T18" fmla="*/ 4032 w 4032"/>
              <a:gd name="T19" fmla="*/ 861 h 2294"/>
              <a:gd name="T20" fmla="*/ 0 w 4032"/>
              <a:gd name="T21" fmla="*/ 575 h 2294"/>
              <a:gd name="T22" fmla="*/ 4032 w 4032"/>
              <a:gd name="T23" fmla="*/ 575 h 2294"/>
              <a:gd name="T24" fmla="*/ 0 w 4032"/>
              <a:gd name="T25" fmla="*/ 287 h 2294"/>
              <a:gd name="T26" fmla="*/ 4032 w 4032"/>
              <a:gd name="T27" fmla="*/ 287 h 2294"/>
              <a:gd name="T28" fmla="*/ 0 w 4032"/>
              <a:gd name="T29" fmla="*/ 0 h 2294"/>
              <a:gd name="T30" fmla="*/ 4032 w 4032"/>
              <a:gd name="T31" fmla="*/ 0 h 2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032" h="2294">
                <a:moveTo>
                  <a:pt x="0" y="2294"/>
                </a:moveTo>
                <a:lnTo>
                  <a:pt x="4032" y="2294"/>
                </a:lnTo>
                <a:moveTo>
                  <a:pt x="0" y="2008"/>
                </a:moveTo>
                <a:lnTo>
                  <a:pt x="4032" y="2008"/>
                </a:lnTo>
                <a:moveTo>
                  <a:pt x="0" y="1721"/>
                </a:moveTo>
                <a:lnTo>
                  <a:pt x="4032" y="1721"/>
                </a:lnTo>
                <a:moveTo>
                  <a:pt x="0" y="1435"/>
                </a:moveTo>
                <a:lnTo>
                  <a:pt x="4032" y="1435"/>
                </a:lnTo>
                <a:moveTo>
                  <a:pt x="0" y="861"/>
                </a:moveTo>
                <a:lnTo>
                  <a:pt x="4032" y="861"/>
                </a:lnTo>
                <a:moveTo>
                  <a:pt x="0" y="575"/>
                </a:moveTo>
                <a:lnTo>
                  <a:pt x="4032" y="575"/>
                </a:lnTo>
                <a:moveTo>
                  <a:pt x="0" y="287"/>
                </a:moveTo>
                <a:lnTo>
                  <a:pt x="4032" y="287"/>
                </a:lnTo>
                <a:moveTo>
                  <a:pt x="0" y="0"/>
                </a:moveTo>
                <a:lnTo>
                  <a:pt x="4032" y="0"/>
                </a:lnTo>
              </a:path>
            </a:pathLst>
          </a:custGeom>
          <a:noFill/>
          <a:ln w="12700" cap="flat">
            <a:solidFill>
              <a:srgbClr val="D9D9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l-PL" sz="1800" b="1">
              <a:solidFill>
                <a:schemeClr val="bg1"/>
              </a:solidFill>
            </a:endParaRPr>
          </a:p>
        </p:txBody>
      </p:sp>
      <p:sp>
        <p:nvSpPr>
          <p:cNvPr id="49" name="Freeform 6">
            <a:extLst>
              <a:ext uri="{FF2B5EF4-FFF2-40B4-BE49-F238E27FC236}">
                <a16:creationId xmlns:a16="http://schemas.microsoft.com/office/drawing/2014/main" id="{202DC4DB-B1BE-FEC3-EF86-D347D8151DAD}"/>
              </a:ext>
            </a:extLst>
          </p:cNvPr>
          <p:cNvSpPr>
            <a:spLocks noEditPoints="1"/>
          </p:cNvSpPr>
          <p:nvPr/>
        </p:nvSpPr>
        <p:spPr bwMode="auto">
          <a:xfrm>
            <a:off x="1826409" y="3116024"/>
            <a:ext cx="4688681" cy="1553766"/>
          </a:xfrm>
          <a:custGeom>
            <a:avLst/>
            <a:gdLst>
              <a:gd name="T0" fmla="*/ 108 w 3938"/>
              <a:gd name="T1" fmla="*/ 302 h 1305"/>
              <a:gd name="T2" fmla="*/ 0 w 3938"/>
              <a:gd name="T3" fmla="*/ 1018 h 1305"/>
              <a:gd name="T4" fmla="*/ 202 w 3938"/>
              <a:gd name="T5" fmla="*/ 516 h 1305"/>
              <a:gd name="T6" fmla="*/ 310 w 3938"/>
              <a:gd name="T7" fmla="*/ 1018 h 1305"/>
              <a:gd name="T8" fmla="*/ 202 w 3938"/>
              <a:gd name="T9" fmla="*/ 516 h 1305"/>
              <a:gd name="T10" fmla="*/ 511 w 3938"/>
              <a:gd name="T11" fmla="*/ 144 h 1305"/>
              <a:gd name="T12" fmla="*/ 404 w 3938"/>
              <a:gd name="T13" fmla="*/ 1018 h 1305"/>
              <a:gd name="T14" fmla="*/ 605 w 3938"/>
              <a:gd name="T15" fmla="*/ 0 h 1305"/>
              <a:gd name="T16" fmla="*/ 713 w 3938"/>
              <a:gd name="T17" fmla="*/ 1018 h 1305"/>
              <a:gd name="T18" fmla="*/ 605 w 3938"/>
              <a:gd name="T19" fmla="*/ 0 h 1305"/>
              <a:gd name="T20" fmla="*/ 914 w 3938"/>
              <a:gd name="T21" fmla="*/ 415 h 1305"/>
              <a:gd name="T22" fmla="*/ 807 w 3938"/>
              <a:gd name="T23" fmla="*/ 1018 h 1305"/>
              <a:gd name="T24" fmla="*/ 1008 w 3938"/>
              <a:gd name="T25" fmla="*/ 616 h 1305"/>
              <a:gd name="T26" fmla="*/ 1116 w 3938"/>
              <a:gd name="T27" fmla="*/ 1018 h 1305"/>
              <a:gd name="T28" fmla="*/ 1008 w 3938"/>
              <a:gd name="T29" fmla="*/ 616 h 1305"/>
              <a:gd name="T30" fmla="*/ 1318 w 3938"/>
              <a:gd name="T31" fmla="*/ 531 h 1305"/>
              <a:gd name="T32" fmla="*/ 1210 w 3938"/>
              <a:gd name="T33" fmla="*/ 1018 h 1305"/>
              <a:gd name="T34" fmla="*/ 1412 w 3938"/>
              <a:gd name="T35" fmla="*/ 302 h 1305"/>
              <a:gd name="T36" fmla="*/ 1519 w 3938"/>
              <a:gd name="T37" fmla="*/ 1018 h 1305"/>
              <a:gd name="T38" fmla="*/ 1412 w 3938"/>
              <a:gd name="T39" fmla="*/ 302 h 1305"/>
              <a:gd name="T40" fmla="*/ 1721 w 3938"/>
              <a:gd name="T41" fmla="*/ 802 h 1305"/>
              <a:gd name="T42" fmla="*/ 1613 w 3938"/>
              <a:gd name="T43" fmla="*/ 1018 h 1305"/>
              <a:gd name="T44" fmla="*/ 1815 w 3938"/>
              <a:gd name="T45" fmla="*/ 888 h 1305"/>
              <a:gd name="T46" fmla="*/ 1922 w 3938"/>
              <a:gd name="T47" fmla="*/ 1018 h 1305"/>
              <a:gd name="T48" fmla="*/ 1815 w 3938"/>
              <a:gd name="T49" fmla="*/ 888 h 1305"/>
              <a:gd name="T50" fmla="*/ 2124 w 3938"/>
              <a:gd name="T51" fmla="*/ 473 h 1305"/>
              <a:gd name="T52" fmla="*/ 2016 w 3938"/>
              <a:gd name="T53" fmla="*/ 1018 h 1305"/>
              <a:gd name="T54" fmla="*/ 2218 w 3938"/>
              <a:gd name="T55" fmla="*/ 387 h 1305"/>
              <a:gd name="T56" fmla="*/ 2326 w 3938"/>
              <a:gd name="T57" fmla="*/ 1018 h 1305"/>
              <a:gd name="T58" fmla="*/ 2218 w 3938"/>
              <a:gd name="T59" fmla="*/ 387 h 1305"/>
              <a:gd name="T60" fmla="*/ 2527 w 3938"/>
              <a:gd name="T61" fmla="*/ 588 h 1305"/>
              <a:gd name="T62" fmla="*/ 2420 w 3938"/>
              <a:gd name="T63" fmla="*/ 1018 h 1305"/>
              <a:gd name="T64" fmla="*/ 2621 w 3938"/>
              <a:gd name="T65" fmla="*/ 287 h 1305"/>
              <a:gd name="T66" fmla="*/ 2729 w 3938"/>
              <a:gd name="T67" fmla="*/ 1018 h 1305"/>
              <a:gd name="T68" fmla="*/ 2621 w 3938"/>
              <a:gd name="T69" fmla="*/ 287 h 1305"/>
              <a:gd name="T70" fmla="*/ 2930 w 3938"/>
              <a:gd name="T71" fmla="*/ 172 h 1305"/>
              <a:gd name="T72" fmla="*/ 2823 w 3938"/>
              <a:gd name="T73" fmla="*/ 1018 h 1305"/>
              <a:gd name="T74" fmla="*/ 3024 w 3938"/>
              <a:gd name="T75" fmla="*/ 373 h 1305"/>
              <a:gd name="T76" fmla="*/ 3132 w 3938"/>
              <a:gd name="T77" fmla="*/ 1018 h 1305"/>
              <a:gd name="T78" fmla="*/ 3024 w 3938"/>
              <a:gd name="T79" fmla="*/ 373 h 1305"/>
              <a:gd name="T80" fmla="*/ 3334 w 3938"/>
              <a:gd name="T81" fmla="*/ 1305 h 1305"/>
              <a:gd name="T82" fmla="*/ 3226 w 3938"/>
              <a:gd name="T83" fmla="*/ 1018 h 1305"/>
              <a:gd name="T84" fmla="*/ 3428 w 3938"/>
              <a:gd name="T85" fmla="*/ 28 h 1305"/>
              <a:gd name="T86" fmla="*/ 3535 w 3938"/>
              <a:gd name="T87" fmla="*/ 1018 h 1305"/>
              <a:gd name="T88" fmla="*/ 3428 w 3938"/>
              <a:gd name="T89" fmla="*/ 28 h 1305"/>
              <a:gd name="T90" fmla="*/ 3737 w 3938"/>
              <a:gd name="T91" fmla="*/ 257 h 1305"/>
              <a:gd name="T92" fmla="*/ 3629 w 3938"/>
              <a:gd name="T93" fmla="*/ 1018 h 1305"/>
              <a:gd name="T94" fmla="*/ 3831 w 3938"/>
              <a:gd name="T95" fmla="*/ 946 h 1305"/>
              <a:gd name="T96" fmla="*/ 3938 w 3938"/>
              <a:gd name="T97" fmla="*/ 1018 h 1305"/>
              <a:gd name="T98" fmla="*/ 3831 w 3938"/>
              <a:gd name="T99" fmla="*/ 946 h 1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938" h="1305">
                <a:moveTo>
                  <a:pt x="0" y="302"/>
                </a:moveTo>
                <a:lnTo>
                  <a:pt x="108" y="302"/>
                </a:lnTo>
                <a:lnTo>
                  <a:pt x="108" y="1018"/>
                </a:lnTo>
                <a:lnTo>
                  <a:pt x="0" y="1018"/>
                </a:lnTo>
                <a:lnTo>
                  <a:pt x="0" y="302"/>
                </a:lnTo>
                <a:close/>
                <a:moveTo>
                  <a:pt x="202" y="516"/>
                </a:moveTo>
                <a:lnTo>
                  <a:pt x="310" y="516"/>
                </a:lnTo>
                <a:lnTo>
                  <a:pt x="310" y="1018"/>
                </a:lnTo>
                <a:lnTo>
                  <a:pt x="202" y="1018"/>
                </a:lnTo>
                <a:lnTo>
                  <a:pt x="202" y="516"/>
                </a:lnTo>
                <a:close/>
                <a:moveTo>
                  <a:pt x="404" y="144"/>
                </a:moveTo>
                <a:lnTo>
                  <a:pt x="511" y="144"/>
                </a:lnTo>
                <a:lnTo>
                  <a:pt x="511" y="1018"/>
                </a:lnTo>
                <a:lnTo>
                  <a:pt x="404" y="1018"/>
                </a:lnTo>
                <a:lnTo>
                  <a:pt x="404" y="144"/>
                </a:lnTo>
                <a:close/>
                <a:moveTo>
                  <a:pt x="605" y="0"/>
                </a:moveTo>
                <a:lnTo>
                  <a:pt x="713" y="0"/>
                </a:lnTo>
                <a:lnTo>
                  <a:pt x="713" y="1018"/>
                </a:lnTo>
                <a:lnTo>
                  <a:pt x="605" y="1018"/>
                </a:lnTo>
                <a:lnTo>
                  <a:pt x="605" y="0"/>
                </a:lnTo>
                <a:close/>
                <a:moveTo>
                  <a:pt x="807" y="415"/>
                </a:moveTo>
                <a:lnTo>
                  <a:pt x="914" y="415"/>
                </a:lnTo>
                <a:lnTo>
                  <a:pt x="914" y="1018"/>
                </a:lnTo>
                <a:lnTo>
                  <a:pt x="807" y="1018"/>
                </a:lnTo>
                <a:lnTo>
                  <a:pt x="807" y="415"/>
                </a:lnTo>
                <a:close/>
                <a:moveTo>
                  <a:pt x="1008" y="616"/>
                </a:moveTo>
                <a:lnTo>
                  <a:pt x="1116" y="616"/>
                </a:lnTo>
                <a:lnTo>
                  <a:pt x="1116" y="1018"/>
                </a:lnTo>
                <a:lnTo>
                  <a:pt x="1008" y="1018"/>
                </a:lnTo>
                <a:lnTo>
                  <a:pt x="1008" y="616"/>
                </a:lnTo>
                <a:close/>
                <a:moveTo>
                  <a:pt x="1210" y="531"/>
                </a:moveTo>
                <a:lnTo>
                  <a:pt x="1318" y="531"/>
                </a:lnTo>
                <a:lnTo>
                  <a:pt x="1318" y="1018"/>
                </a:lnTo>
                <a:lnTo>
                  <a:pt x="1210" y="1018"/>
                </a:lnTo>
                <a:lnTo>
                  <a:pt x="1210" y="531"/>
                </a:lnTo>
                <a:close/>
                <a:moveTo>
                  <a:pt x="1412" y="302"/>
                </a:moveTo>
                <a:lnTo>
                  <a:pt x="1519" y="302"/>
                </a:lnTo>
                <a:lnTo>
                  <a:pt x="1519" y="1018"/>
                </a:lnTo>
                <a:lnTo>
                  <a:pt x="1412" y="1018"/>
                </a:lnTo>
                <a:lnTo>
                  <a:pt x="1412" y="302"/>
                </a:lnTo>
                <a:close/>
                <a:moveTo>
                  <a:pt x="1613" y="802"/>
                </a:moveTo>
                <a:lnTo>
                  <a:pt x="1721" y="802"/>
                </a:lnTo>
                <a:lnTo>
                  <a:pt x="1721" y="1018"/>
                </a:lnTo>
                <a:lnTo>
                  <a:pt x="1613" y="1018"/>
                </a:lnTo>
                <a:lnTo>
                  <a:pt x="1613" y="802"/>
                </a:lnTo>
                <a:close/>
                <a:moveTo>
                  <a:pt x="1815" y="888"/>
                </a:moveTo>
                <a:lnTo>
                  <a:pt x="1922" y="888"/>
                </a:lnTo>
                <a:lnTo>
                  <a:pt x="1922" y="1018"/>
                </a:lnTo>
                <a:lnTo>
                  <a:pt x="1815" y="1018"/>
                </a:lnTo>
                <a:lnTo>
                  <a:pt x="1815" y="888"/>
                </a:lnTo>
                <a:close/>
                <a:moveTo>
                  <a:pt x="2016" y="473"/>
                </a:moveTo>
                <a:lnTo>
                  <a:pt x="2124" y="473"/>
                </a:lnTo>
                <a:lnTo>
                  <a:pt x="2124" y="1018"/>
                </a:lnTo>
                <a:lnTo>
                  <a:pt x="2016" y="1018"/>
                </a:lnTo>
                <a:lnTo>
                  <a:pt x="2016" y="473"/>
                </a:lnTo>
                <a:close/>
                <a:moveTo>
                  <a:pt x="2218" y="387"/>
                </a:moveTo>
                <a:lnTo>
                  <a:pt x="2326" y="387"/>
                </a:lnTo>
                <a:lnTo>
                  <a:pt x="2326" y="1018"/>
                </a:lnTo>
                <a:lnTo>
                  <a:pt x="2218" y="1018"/>
                </a:lnTo>
                <a:lnTo>
                  <a:pt x="2218" y="387"/>
                </a:lnTo>
                <a:close/>
                <a:moveTo>
                  <a:pt x="2420" y="588"/>
                </a:moveTo>
                <a:lnTo>
                  <a:pt x="2527" y="588"/>
                </a:lnTo>
                <a:lnTo>
                  <a:pt x="2527" y="1018"/>
                </a:lnTo>
                <a:lnTo>
                  <a:pt x="2420" y="1018"/>
                </a:lnTo>
                <a:lnTo>
                  <a:pt x="2420" y="588"/>
                </a:lnTo>
                <a:close/>
                <a:moveTo>
                  <a:pt x="2621" y="287"/>
                </a:moveTo>
                <a:lnTo>
                  <a:pt x="2729" y="287"/>
                </a:lnTo>
                <a:lnTo>
                  <a:pt x="2729" y="1018"/>
                </a:lnTo>
                <a:lnTo>
                  <a:pt x="2621" y="1018"/>
                </a:lnTo>
                <a:lnTo>
                  <a:pt x="2621" y="287"/>
                </a:lnTo>
                <a:close/>
                <a:moveTo>
                  <a:pt x="2823" y="172"/>
                </a:moveTo>
                <a:lnTo>
                  <a:pt x="2930" y="172"/>
                </a:lnTo>
                <a:lnTo>
                  <a:pt x="2930" y="1018"/>
                </a:lnTo>
                <a:lnTo>
                  <a:pt x="2823" y="1018"/>
                </a:lnTo>
                <a:lnTo>
                  <a:pt x="2823" y="172"/>
                </a:lnTo>
                <a:close/>
                <a:moveTo>
                  <a:pt x="3024" y="373"/>
                </a:moveTo>
                <a:lnTo>
                  <a:pt x="3132" y="373"/>
                </a:lnTo>
                <a:lnTo>
                  <a:pt x="3132" y="1018"/>
                </a:lnTo>
                <a:lnTo>
                  <a:pt x="3024" y="1018"/>
                </a:lnTo>
                <a:lnTo>
                  <a:pt x="3024" y="373"/>
                </a:lnTo>
                <a:close/>
                <a:moveTo>
                  <a:pt x="3226" y="1305"/>
                </a:moveTo>
                <a:lnTo>
                  <a:pt x="3334" y="1305"/>
                </a:lnTo>
                <a:lnTo>
                  <a:pt x="3334" y="1018"/>
                </a:lnTo>
                <a:lnTo>
                  <a:pt x="3226" y="1018"/>
                </a:lnTo>
                <a:lnTo>
                  <a:pt x="3226" y="1305"/>
                </a:lnTo>
                <a:close/>
                <a:moveTo>
                  <a:pt x="3428" y="28"/>
                </a:moveTo>
                <a:lnTo>
                  <a:pt x="3535" y="28"/>
                </a:lnTo>
                <a:lnTo>
                  <a:pt x="3535" y="1018"/>
                </a:lnTo>
                <a:lnTo>
                  <a:pt x="3428" y="1018"/>
                </a:lnTo>
                <a:lnTo>
                  <a:pt x="3428" y="28"/>
                </a:lnTo>
                <a:close/>
                <a:moveTo>
                  <a:pt x="3629" y="257"/>
                </a:moveTo>
                <a:lnTo>
                  <a:pt x="3737" y="257"/>
                </a:lnTo>
                <a:lnTo>
                  <a:pt x="3737" y="1018"/>
                </a:lnTo>
                <a:lnTo>
                  <a:pt x="3629" y="1018"/>
                </a:lnTo>
                <a:lnTo>
                  <a:pt x="3629" y="257"/>
                </a:lnTo>
                <a:close/>
                <a:moveTo>
                  <a:pt x="3831" y="946"/>
                </a:moveTo>
                <a:lnTo>
                  <a:pt x="3938" y="946"/>
                </a:lnTo>
                <a:lnTo>
                  <a:pt x="3938" y="1018"/>
                </a:lnTo>
                <a:lnTo>
                  <a:pt x="3831" y="1018"/>
                </a:lnTo>
                <a:lnTo>
                  <a:pt x="3831" y="946"/>
                </a:lnTo>
                <a:close/>
              </a:path>
            </a:pathLst>
          </a:custGeom>
          <a:solidFill>
            <a:srgbClr val="FF252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l-PL" sz="1800" b="1">
              <a:solidFill>
                <a:schemeClr val="bg1"/>
              </a:solidFill>
            </a:endParaRPr>
          </a:p>
        </p:txBody>
      </p:sp>
      <p:sp>
        <p:nvSpPr>
          <p:cNvPr id="50" name="Line 7">
            <a:extLst>
              <a:ext uri="{FF2B5EF4-FFF2-40B4-BE49-F238E27FC236}">
                <a16:creationId xmlns:a16="http://schemas.microsoft.com/office/drawing/2014/main" id="{90507FE6-83BA-88CA-0C00-E6619CB14C3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70449" y="4328080"/>
            <a:ext cx="4800600" cy="0"/>
          </a:xfrm>
          <a:prstGeom prst="line">
            <a:avLst/>
          </a:prstGeom>
          <a:noFill/>
          <a:ln w="38100" cap="flat">
            <a:solidFill>
              <a:srgbClr val="D9D9D9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l-PL" sz="1800" b="1">
              <a:solidFill>
                <a:schemeClr val="bg1"/>
              </a:solidFill>
            </a:endParaRPr>
          </a:p>
        </p:txBody>
      </p:sp>
      <p:sp>
        <p:nvSpPr>
          <p:cNvPr id="51" name="Freeform 8">
            <a:extLst>
              <a:ext uri="{FF2B5EF4-FFF2-40B4-BE49-F238E27FC236}">
                <a16:creationId xmlns:a16="http://schemas.microsoft.com/office/drawing/2014/main" id="{25407383-1026-468C-0CE4-E5C83E3BA439}"/>
              </a:ext>
            </a:extLst>
          </p:cNvPr>
          <p:cNvSpPr>
            <a:spLocks/>
          </p:cNvSpPr>
          <p:nvPr/>
        </p:nvSpPr>
        <p:spPr bwMode="auto">
          <a:xfrm>
            <a:off x="1890702" y="3116024"/>
            <a:ext cx="4561285" cy="1552575"/>
          </a:xfrm>
          <a:custGeom>
            <a:avLst/>
            <a:gdLst>
              <a:gd name="T0" fmla="*/ 0 w 3831"/>
              <a:gd name="T1" fmla="*/ 301 h 1304"/>
              <a:gd name="T2" fmla="*/ 202 w 3831"/>
              <a:gd name="T3" fmla="*/ 517 h 1304"/>
              <a:gd name="T4" fmla="*/ 403 w 3831"/>
              <a:gd name="T5" fmla="*/ 143 h 1304"/>
              <a:gd name="T6" fmla="*/ 605 w 3831"/>
              <a:gd name="T7" fmla="*/ 0 h 1304"/>
              <a:gd name="T8" fmla="*/ 807 w 3831"/>
              <a:gd name="T9" fmla="*/ 416 h 1304"/>
              <a:gd name="T10" fmla="*/ 1008 w 3831"/>
              <a:gd name="T11" fmla="*/ 617 h 1304"/>
              <a:gd name="T12" fmla="*/ 1210 w 3831"/>
              <a:gd name="T13" fmla="*/ 530 h 1304"/>
              <a:gd name="T14" fmla="*/ 1411 w 3831"/>
              <a:gd name="T15" fmla="*/ 301 h 1304"/>
              <a:gd name="T16" fmla="*/ 1613 w 3831"/>
              <a:gd name="T17" fmla="*/ 803 h 1304"/>
              <a:gd name="T18" fmla="*/ 1815 w 3831"/>
              <a:gd name="T19" fmla="*/ 889 h 1304"/>
              <a:gd name="T20" fmla="*/ 2016 w 3831"/>
              <a:gd name="T21" fmla="*/ 472 h 1304"/>
              <a:gd name="T22" fmla="*/ 2218 w 3831"/>
              <a:gd name="T23" fmla="*/ 387 h 1304"/>
              <a:gd name="T24" fmla="*/ 2419 w 3831"/>
              <a:gd name="T25" fmla="*/ 587 h 1304"/>
              <a:gd name="T26" fmla="*/ 2621 w 3831"/>
              <a:gd name="T27" fmla="*/ 286 h 1304"/>
              <a:gd name="T28" fmla="*/ 2823 w 3831"/>
              <a:gd name="T29" fmla="*/ 172 h 1304"/>
              <a:gd name="T30" fmla="*/ 3024 w 3831"/>
              <a:gd name="T31" fmla="*/ 373 h 1304"/>
              <a:gd name="T32" fmla="*/ 3226 w 3831"/>
              <a:gd name="T33" fmla="*/ 1304 h 1304"/>
              <a:gd name="T34" fmla="*/ 3427 w 3831"/>
              <a:gd name="T35" fmla="*/ 29 h 1304"/>
              <a:gd name="T36" fmla="*/ 3629 w 3831"/>
              <a:gd name="T37" fmla="*/ 258 h 1304"/>
              <a:gd name="T38" fmla="*/ 3831 w 3831"/>
              <a:gd name="T39" fmla="*/ 946 h 1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831" h="1304">
                <a:moveTo>
                  <a:pt x="0" y="301"/>
                </a:moveTo>
                <a:lnTo>
                  <a:pt x="202" y="517"/>
                </a:lnTo>
                <a:lnTo>
                  <a:pt x="403" y="143"/>
                </a:lnTo>
                <a:lnTo>
                  <a:pt x="605" y="0"/>
                </a:lnTo>
                <a:lnTo>
                  <a:pt x="807" y="416"/>
                </a:lnTo>
                <a:lnTo>
                  <a:pt x="1008" y="617"/>
                </a:lnTo>
                <a:lnTo>
                  <a:pt x="1210" y="530"/>
                </a:lnTo>
                <a:lnTo>
                  <a:pt x="1411" y="301"/>
                </a:lnTo>
                <a:lnTo>
                  <a:pt x="1613" y="803"/>
                </a:lnTo>
                <a:lnTo>
                  <a:pt x="1815" y="889"/>
                </a:lnTo>
                <a:lnTo>
                  <a:pt x="2016" y="472"/>
                </a:lnTo>
                <a:lnTo>
                  <a:pt x="2218" y="387"/>
                </a:lnTo>
                <a:lnTo>
                  <a:pt x="2419" y="587"/>
                </a:lnTo>
                <a:lnTo>
                  <a:pt x="2621" y="286"/>
                </a:lnTo>
                <a:lnTo>
                  <a:pt x="2823" y="172"/>
                </a:lnTo>
                <a:lnTo>
                  <a:pt x="3024" y="373"/>
                </a:lnTo>
                <a:lnTo>
                  <a:pt x="3226" y="1304"/>
                </a:lnTo>
                <a:lnTo>
                  <a:pt x="3427" y="29"/>
                </a:lnTo>
                <a:lnTo>
                  <a:pt x="3629" y="258"/>
                </a:lnTo>
                <a:lnTo>
                  <a:pt x="3831" y="946"/>
                </a:lnTo>
              </a:path>
            </a:pathLst>
          </a:custGeom>
          <a:noFill/>
          <a:ln w="52388" cap="rnd">
            <a:solidFill>
              <a:srgbClr val="CC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l-PL" sz="1800" b="1">
              <a:solidFill>
                <a:schemeClr val="bg1"/>
              </a:solidFill>
            </a:endParaRPr>
          </a:p>
        </p:txBody>
      </p:sp>
      <p:sp>
        <p:nvSpPr>
          <p:cNvPr id="52" name="Freeform 9">
            <a:extLst>
              <a:ext uri="{FF2B5EF4-FFF2-40B4-BE49-F238E27FC236}">
                <a16:creationId xmlns:a16="http://schemas.microsoft.com/office/drawing/2014/main" id="{0C232BF6-7FB8-3BD8-1A6E-11CCC1249FB4}"/>
              </a:ext>
            </a:extLst>
          </p:cNvPr>
          <p:cNvSpPr>
            <a:spLocks/>
          </p:cNvSpPr>
          <p:nvPr/>
        </p:nvSpPr>
        <p:spPr bwMode="auto">
          <a:xfrm>
            <a:off x="1890702" y="3369626"/>
            <a:ext cx="4561285" cy="1995488"/>
          </a:xfrm>
          <a:custGeom>
            <a:avLst/>
            <a:gdLst>
              <a:gd name="T0" fmla="*/ 0 w 3831"/>
              <a:gd name="T1" fmla="*/ 478 h 1676"/>
              <a:gd name="T2" fmla="*/ 202 w 3831"/>
              <a:gd name="T3" fmla="*/ 565 h 1676"/>
              <a:gd name="T4" fmla="*/ 403 w 3831"/>
              <a:gd name="T5" fmla="*/ 342 h 1676"/>
              <a:gd name="T6" fmla="*/ 605 w 3831"/>
              <a:gd name="T7" fmla="*/ 376 h 1676"/>
              <a:gd name="T8" fmla="*/ 807 w 3831"/>
              <a:gd name="T9" fmla="*/ 744 h 1676"/>
              <a:gd name="T10" fmla="*/ 1008 w 3831"/>
              <a:gd name="T11" fmla="*/ 1451 h 1676"/>
              <a:gd name="T12" fmla="*/ 1210 w 3831"/>
              <a:gd name="T13" fmla="*/ 500 h 1676"/>
              <a:gd name="T14" fmla="*/ 1411 w 3831"/>
              <a:gd name="T15" fmla="*/ 563 h 1676"/>
              <a:gd name="T16" fmla="*/ 1613 w 3831"/>
              <a:gd name="T17" fmla="*/ 932 h 1676"/>
              <a:gd name="T18" fmla="*/ 1815 w 3831"/>
              <a:gd name="T19" fmla="*/ 838 h 1676"/>
              <a:gd name="T20" fmla="*/ 2016 w 3831"/>
              <a:gd name="T21" fmla="*/ 606 h 1676"/>
              <a:gd name="T22" fmla="*/ 2218 w 3831"/>
              <a:gd name="T23" fmla="*/ 514 h 1676"/>
              <a:gd name="T24" fmla="*/ 2419 w 3831"/>
              <a:gd name="T25" fmla="*/ 538 h 1676"/>
              <a:gd name="T26" fmla="*/ 2621 w 3831"/>
              <a:gd name="T27" fmla="*/ 428 h 1676"/>
              <a:gd name="T28" fmla="*/ 2823 w 3831"/>
              <a:gd name="T29" fmla="*/ 549 h 1676"/>
              <a:gd name="T30" fmla="*/ 3024 w 3831"/>
              <a:gd name="T31" fmla="*/ 577 h 1676"/>
              <a:gd name="T32" fmla="*/ 3226 w 3831"/>
              <a:gd name="T33" fmla="*/ 1676 h 1676"/>
              <a:gd name="T34" fmla="*/ 3427 w 3831"/>
              <a:gd name="T35" fmla="*/ 0 h 1676"/>
              <a:gd name="T36" fmla="*/ 3629 w 3831"/>
              <a:gd name="T37" fmla="*/ 326 h 1676"/>
              <a:gd name="T38" fmla="*/ 3831 w 3831"/>
              <a:gd name="T39" fmla="*/ 733 h 1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831" h="1676">
                <a:moveTo>
                  <a:pt x="0" y="478"/>
                </a:moveTo>
                <a:lnTo>
                  <a:pt x="202" y="565"/>
                </a:lnTo>
                <a:lnTo>
                  <a:pt x="403" y="342"/>
                </a:lnTo>
                <a:lnTo>
                  <a:pt x="605" y="376"/>
                </a:lnTo>
                <a:lnTo>
                  <a:pt x="807" y="744"/>
                </a:lnTo>
                <a:lnTo>
                  <a:pt x="1008" y="1451"/>
                </a:lnTo>
                <a:lnTo>
                  <a:pt x="1210" y="500"/>
                </a:lnTo>
                <a:lnTo>
                  <a:pt x="1411" y="563"/>
                </a:lnTo>
                <a:lnTo>
                  <a:pt x="1613" y="932"/>
                </a:lnTo>
                <a:lnTo>
                  <a:pt x="1815" y="838"/>
                </a:lnTo>
                <a:lnTo>
                  <a:pt x="2016" y="606"/>
                </a:lnTo>
                <a:lnTo>
                  <a:pt x="2218" y="514"/>
                </a:lnTo>
                <a:lnTo>
                  <a:pt x="2419" y="538"/>
                </a:lnTo>
                <a:lnTo>
                  <a:pt x="2621" y="428"/>
                </a:lnTo>
                <a:lnTo>
                  <a:pt x="2823" y="549"/>
                </a:lnTo>
                <a:lnTo>
                  <a:pt x="3024" y="577"/>
                </a:lnTo>
                <a:lnTo>
                  <a:pt x="3226" y="1676"/>
                </a:lnTo>
                <a:lnTo>
                  <a:pt x="3427" y="0"/>
                </a:lnTo>
                <a:lnTo>
                  <a:pt x="3629" y="326"/>
                </a:lnTo>
                <a:lnTo>
                  <a:pt x="3831" y="733"/>
                </a:lnTo>
              </a:path>
            </a:pathLst>
          </a:custGeom>
          <a:noFill/>
          <a:ln w="52388" cap="rnd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l-PL" sz="1800" b="1">
              <a:solidFill>
                <a:schemeClr val="bg1"/>
              </a:solidFill>
            </a:endParaRPr>
          </a:p>
        </p:txBody>
      </p:sp>
      <p:sp>
        <p:nvSpPr>
          <p:cNvPr id="53" name="Rectangle 10">
            <a:extLst>
              <a:ext uri="{FF2B5EF4-FFF2-40B4-BE49-F238E27FC236}">
                <a16:creationId xmlns:a16="http://schemas.microsoft.com/office/drawing/2014/main" id="{26192DB4-F106-8FB0-BD45-07B2FB5709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983" y="5611574"/>
            <a:ext cx="198772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975" b="1">
                <a:solidFill>
                  <a:srgbClr val="FFFF00"/>
                </a:solidFill>
                <a:latin typeface="Calibri" panose="020F0502020204030204" pitchFamily="34" charset="0"/>
              </a:rPr>
              <a:t>-8,0</a:t>
            </a:r>
            <a:endParaRPr lang="pl-PL" altLang="pl-PL" sz="1350" b="1">
              <a:solidFill>
                <a:srgbClr val="FFFF00"/>
              </a:solidFill>
            </a:endParaRPr>
          </a:p>
        </p:txBody>
      </p:sp>
      <p:sp>
        <p:nvSpPr>
          <p:cNvPr id="54" name="Rectangle 11">
            <a:extLst>
              <a:ext uri="{FF2B5EF4-FFF2-40B4-BE49-F238E27FC236}">
                <a16:creationId xmlns:a16="http://schemas.microsoft.com/office/drawing/2014/main" id="{658421D4-20A4-9678-CC6A-E1E74FBD8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983" y="5272245"/>
            <a:ext cx="198772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975" b="1">
                <a:solidFill>
                  <a:srgbClr val="FFFF00"/>
                </a:solidFill>
                <a:latin typeface="Calibri" panose="020F0502020204030204" pitchFamily="34" charset="0"/>
              </a:rPr>
              <a:t>-6,0</a:t>
            </a:r>
            <a:endParaRPr lang="pl-PL" altLang="pl-PL" sz="1350" b="1">
              <a:solidFill>
                <a:srgbClr val="FFFF00"/>
              </a:solidFill>
            </a:endParaRPr>
          </a:p>
        </p:txBody>
      </p:sp>
      <p:sp>
        <p:nvSpPr>
          <p:cNvPr id="55" name="Rectangle 12">
            <a:extLst>
              <a:ext uri="{FF2B5EF4-FFF2-40B4-BE49-F238E27FC236}">
                <a16:creationId xmlns:a16="http://schemas.microsoft.com/office/drawing/2014/main" id="{AE3A6ACC-4DA4-C44A-E34B-CB6E7FB31A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983" y="4930536"/>
            <a:ext cx="198772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975" b="1">
                <a:solidFill>
                  <a:srgbClr val="FFFF00"/>
                </a:solidFill>
                <a:latin typeface="Calibri" panose="020F0502020204030204" pitchFamily="34" charset="0"/>
              </a:rPr>
              <a:t>-4,0</a:t>
            </a:r>
            <a:endParaRPr lang="pl-PL" altLang="pl-PL" sz="1350" b="1">
              <a:solidFill>
                <a:srgbClr val="FFFF00"/>
              </a:solidFill>
            </a:endParaRPr>
          </a:p>
        </p:txBody>
      </p:sp>
      <p:sp>
        <p:nvSpPr>
          <p:cNvPr id="56" name="Rectangle 13">
            <a:extLst>
              <a:ext uri="{FF2B5EF4-FFF2-40B4-BE49-F238E27FC236}">
                <a16:creationId xmlns:a16="http://schemas.microsoft.com/office/drawing/2014/main" id="{86D7E060-758F-0957-E1D2-A4F87CA02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983" y="4587636"/>
            <a:ext cx="198772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975" b="1">
                <a:solidFill>
                  <a:srgbClr val="FFFF00"/>
                </a:solidFill>
                <a:latin typeface="Calibri" panose="020F0502020204030204" pitchFamily="34" charset="0"/>
              </a:rPr>
              <a:t>-2,0</a:t>
            </a:r>
            <a:endParaRPr lang="pl-PL" altLang="pl-PL" sz="1350" b="1">
              <a:solidFill>
                <a:srgbClr val="FFFF00"/>
              </a:solidFill>
            </a:endParaRPr>
          </a:p>
        </p:txBody>
      </p:sp>
      <p:sp>
        <p:nvSpPr>
          <p:cNvPr id="57" name="Rectangle 14">
            <a:extLst>
              <a:ext uri="{FF2B5EF4-FFF2-40B4-BE49-F238E27FC236}">
                <a16:creationId xmlns:a16="http://schemas.microsoft.com/office/drawing/2014/main" id="{38FBCB45-363D-0C16-D4D0-E38EFC0FDC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9702" y="4248308"/>
            <a:ext cx="160300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975" b="1">
                <a:solidFill>
                  <a:srgbClr val="FFFF00"/>
                </a:solidFill>
                <a:latin typeface="Calibri" panose="020F0502020204030204" pitchFamily="34" charset="0"/>
              </a:rPr>
              <a:t>0,0</a:t>
            </a:r>
            <a:endParaRPr lang="pl-PL" altLang="pl-PL" sz="1350" b="1">
              <a:solidFill>
                <a:srgbClr val="FFFF00"/>
              </a:solidFill>
            </a:endParaRPr>
          </a:p>
        </p:txBody>
      </p:sp>
      <p:sp>
        <p:nvSpPr>
          <p:cNvPr id="58" name="Rectangle 15">
            <a:extLst>
              <a:ext uri="{FF2B5EF4-FFF2-40B4-BE49-F238E27FC236}">
                <a16:creationId xmlns:a16="http://schemas.microsoft.com/office/drawing/2014/main" id="{F453A4BC-EFB8-1339-419E-683FCA5BC3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9702" y="3906599"/>
            <a:ext cx="160300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975" b="1">
                <a:solidFill>
                  <a:srgbClr val="FFFF00"/>
                </a:solidFill>
                <a:latin typeface="Calibri" panose="020F0502020204030204" pitchFamily="34" charset="0"/>
              </a:rPr>
              <a:t>2,0</a:t>
            </a:r>
            <a:endParaRPr lang="pl-PL" altLang="pl-PL" sz="1350" b="1">
              <a:solidFill>
                <a:srgbClr val="FFFF00"/>
              </a:solidFill>
            </a:endParaRPr>
          </a:p>
        </p:txBody>
      </p:sp>
      <p:sp>
        <p:nvSpPr>
          <p:cNvPr id="59" name="Rectangle 16">
            <a:extLst>
              <a:ext uri="{FF2B5EF4-FFF2-40B4-BE49-F238E27FC236}">
                <a16:creationId xmlns:a16="http://schemas.microsoft.com/office/drawing/2014/main" id="{49551870-BD00-05A5-276D-A431048A9D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9702" y="3563699"/>
            <a:ext cx="160300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975" b="1">
                <a:solidFill>
                  <a:srgbClr val="FFFF00"/>
                </a:solidFill>
                <a:latin typeface="Calibri" panose="020F0502020204030204" pitchFamily="34" charset="0"/>
              </a:rPr>
              <a:t>4,0</a:t>
            </a:r>
            <a:endParaRPr lang="pl-PL" altLang="pl-PL" sz="1350" b="1">
              <a:solidFill>
                <a:srgbClr val="FFFF00"/>
              </a:solidFill>
            </a:endParaRPr>
          </a:p>
        </p:txBody>
      </p:sp>
      <p:sp>
        <p:nvSpPr>
          <p:cNvPr id="60" name="Rectangle 17">
            <a:extLst>
              <a:ext uri="{FF2B5EF4-FFF2-40B4-BE49-F238E27FC236}">
                <a16:creationId xmlns:a16="http://schemas.microsoft.com/office/drawing/2014/main" id="{9BF994D8-205A-3C44-C5AC-0D5D080A8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9702" y="3224370"/>
            <a:ext cx="160300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975" b="1">
                <a:solidFill>
                  <a:srgbClr val="FFFF00"/>
                </a:solidFill>
                <a:latin typeface="Calibri" panose="020F0502020204030204" pitchFamily="34" charset="0"/>
              </a:rPr>
              <a:t>6,0</a:t>
            </a:r>
            <a:endParaRPr lang="pl-PL" altLang="pl-PL" sz="1350" b="1">
              <a:solidFill>
                <a:srgbClr val="FFFF00"/>
              </a:solidFill>
            </a:endParaRPr>
          </a:p>
        </p:txBody>
      </p:sp>
      <p:sp>
        <p:nvSpPr>
          <p:cNvPr id="61" name="Rectangle 18">
            <a:extLst>
              <a:ext uri="{FF2B5EF4-FFF2-40B4-BE49-F238E27FC236}">
                <a16:creationId xmlns:a16="http://schemas.microsoft.com/office/drawing/2014/main" id="{205F6272-1C5F-F068-C14E-CAFDBAF689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9702" y="2882661"/>
            <a:ext cx="160300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975" b="1">
                <a:solidFill>
                  <a:srgbClr val="FFFF00"/>
                </a:solidFill>
                <a:latin typeface="Calibri" panose="020F0502020204030204" pitchFamily="34" charset="0"/>
              </a:rPr>
              <a:t>8,0</a:t>
            </a:r>
            <a:endParaRPr lang="pl-PL" altLang="pl-PL" sz="1350" b="1">
              <a:solidFill>
                <a:srgbClr val="FFFF00"/>
              </a:solidFill>
            </a:endParaRPr>
          </a:p>
        </p:txBody>
      </p:sp>
      <p:sp>
        <p:nvSpPr>
          <p:cNvPr id="62" name="Rectangle 19">
            <a:extLst>
              <a:ext uri="{FF2B5EF4-FFF2-40B4-BE49-F238E27FC236}">
                <a16:creationId xmlns:a16="http://schemas.microsoft.com/office/drawing/2014/main" id="{8610D16A-2C7C-4C5D-FFE0-F2B52890109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640286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04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63" name="Rectangle 20">
            <a:extLst>
              <a:ext uri="{FF2B5EF4-FFF2-40B4-BE49-F238E27FC236}">
                <a16:creationId xmlns:a16="http://schemas.microsoft.com/office/drawing/2014/main" id="{29387638-977D-0D07-AE65-2907631A9CA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79602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05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64" name="Rectangle 21">
            <a:extLst>
              <a:ext uri="{FF2B5EF4-FFF2-40B4-BE49-F238E27FC236}">
                <a16:creationId xmlns:a16="http://schemas.microsoft.com/office/drawing/2014/main" id="{047C7B49-4436-8083-45FB-CB65B781EC0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120108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06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65" name="Rectangle 22">
            <a:extLst>
              <a:ext uri="{FF2B5EF4-FFF2-40B4-BE49-F238E27FC236}">
                <a16:creationId xmlns:a16="http://schemas.microsoft.com/office/drawing/2014/main" id="{D7DC74E2-5EDA-0913-7A49-1C36A4BFF79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360614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07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66" name="Rectangle 23">
            <a:extLst>
              <a:ext uri="{FF2B5EF4-FFF2-40B4-BE49-F238E27FC236}">
                <a16:creationId xmlns:a16="http://schemas.microsoft.com/office/drawing/2014/main" id="{EAE90DBB-E169-F368-1A55-957CD0CD0DF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599930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08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67" name="Rectangle 24">
            <a:extLst>
              <a:ext uri="{FF2B5EF4-FFF2-40B4-BE49-F238E27FC236}">
                <a16:creationId xmlns:a16="http://schemas.microsoft.com/office/drawing/2014/main" id="{BECA266A-CAAE-049B-543B-462466904546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840436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09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68" name="Rectangle 25">
            <a:extLst>
              <a:ext uri="{FF2B5EF4-FFF2-40B4-BE49-F238E27FC236}">
                <a16:creationId xmlns:a16="http://schemas.microsoft.com/office/drawing/2014/main" id="{32F8E1B9-DC48-4364-EC2F-B388EC5228F9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079752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10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69" name="Rectangle 26">
            <a:extLst>
              <a:ext uri="{FF2B5EF4-FFF2-40B4-BE49-F238E27FC236}">
                <a16:creationId xmlns:a16="http://schemas.microsoft.com/office/drawing/2014/main" id="{337466BF-DDFD-3E59-7109-8AF15D9908B6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320258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11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70" name="Rectangle 27">
            <a:extLst>
              <a:ext uri="{FF2B5EF4-FFF2-40B4-BE49-F238E27FC236}">
                <a16:creationId xmlns:a16="http://schemas.microsoft.com/office/drawing/2014/main" id="{F0910109-4A76-5BAC-090C-39FCE8876818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560764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12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71" name="Rectangle 28">
            <a:extLst>
              <a:ext uri="{FF2B5EF4-FFF2-40B4-BE49-F238E27FC236}">
                <a16:creationId xmlns:a16="http://schemas.microsoft.com/office/drawing/2014/main" id="{CA00F46F-178D-EF13-D5ED-B7DD6BA7CCC6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800080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13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72" name="Rectangle 29">
            <a:extLst>
              <a:ext uri="{FF2B5EF4-FFF2-40B4-BE49-F238E27FC236}">
                <a16:creationId xmlns:a16="http://schemas.microsoft.com/office/drawing/2014/main" id="{00229516-F9E0-421F-8648-6B05905A2CC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040586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14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73" name="Rectangle 30">
            <a:extLst>
              <a:ext uri="{FF2B5EF4-FFF2-40B4-BE49-F238E27FC236}">
                <a16:creationId xmlns:a16="http://schemas.microsoft.com/office/drawing/2014/main" id="{C0F36A7A-5DC8-C73E-D85E-A8BDB1FFAAD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279902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15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74" name="Rectangle 31">
            <a:extLst>
              <a:ext uri="{FF2B5EF4-FFF2-40B4-BE49-F238E27FC236}">
                <a16:creationId xmlns:a16="http://schemas.microsoft.com/office/drawing/2014/main" id="{6C06480B-907F-68F5-E03D-0842E455273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520408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16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75" name="Rectangle 32">
            <a:extLst>
              <a:ext uri="{FF2B5EF4-FFF2-40B4-BE49-F238E27FC236}">
                <a16:creationId xmlns:a16="http://schemas.microsoft.com/office/drawing/2014/main" id="{05E819F2-CA57-35EB-1D3A-386E248A993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760914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17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76" name="Rectangle 33">
            <a:extLst>
              <a:ext uri="{FF2B5EF4-FFF2-40B4-BE49-F238E27FC236}">
                <a16:creationId xmlns:a16="http://schemas.microsoft.com/office/drawing/2014/main" id="{48D8E737-A6E2-6BE4-CED4-37CF12D557C8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000230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18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77" name="Rectangle 34">
            <a:extLst>
              <a:ext uri="{FF2B5EF4-FFF2-40B4-BE49-F238E27FC236}">
                <a16:creationId xmlns:a16="http://schemas.microsoft.com/office/drawing/2014/main" id="{26A1D104-9B94-C15B-B57D-DBF5D1B1BB3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40736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19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78" name="Rectangle 35">
            <a:extLst>
              <a:ext uri="{FF2B5EF4-FFF2-40B4-BE49-F238E27FC236}">
                <a16:creationId xmlns:a16="http://schemas.microsoft.com/office/drawing/2014/main" id="{B9D30D1C-CFAC-BDB5-5367-60D9EB591D17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480052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20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79" name="Rectangle 36">
            <a:extLst>
              <a:ext uri="{FF2B5EF4-FFF2-40B4-BE49-F238E27FC236}">
                <a16:creationId xmlns:a16="http://schemas.microsoft.com/office/drawing/2014/main" id="{AECEAD6C-2BD1-5812-E95C-FE536401191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720558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>
                <a:solidFill>
                  <a:srgbClr val="FFFF00"/>
                </a:solidFill>
                <a:latin typeface="Calibri" panose="020F0502020204030204" pitchFamily="34" charset="0"/>
              </a:rPr>
              <a:t>2021</a:t>
            </a:r>
            <a:endParaRPr lang="pl-PL" altLang="pl-PL" sz="1350">
              <a:solidFill>
                <a:srgbClr val="FFFF00"/>
              </a:solidFill>
            </a:endParaRPr>
          </a:p>
        </p:txBody>
      </p:sp>
      <p:sp>
        <p:nvSpPr>
          <p:cNvPr id="80" name="Rectangle 37">
            <a:extLst>
              <a:ext uri="{FF2B5EF4-FFF2-40B4-BE49-F238E27FC236}">
                <a16:creationId xmlns:a16="http://schemas.microsoft.com/office/drawing/2014/main" id="{C0689E9E-E183-E9CF-CA69-EB572D83E91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961064" y="5828211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 dirty="0">
                <a:solidFill>
                  <a:srgbClr val="FFFF00"/>
                </a:solidFill>
                <a:latin typeface="Calibri" panose="020F0502020204030204" pitchFamily="34" charset="0"/>
              </a:rPr>
              <a:t>2022</a:t>
            </a:r>
            <a:endParaRPr lang="pl-PL" altLang="pl-PL" sz="1350" dirty="0">
              <a:solidFill>
                <a:srgbClr val="FFFF00"/>
              </a:solidFill>
            </a:endParaRPr>
          </a:p>
        </p:txBody>
      </p:sp>
      <p:sp>
        <p:nvSpPr>
          <p:cNvPr id="81" name="Rectangle 37">
            <a:extLst>
              <a:ext uri="{FF2B5EF4-FFF2-40B4-BE49-F238E27FC236}">
                <a16:creationId xmlns:a16="http://schemas.microsoft.com/office/drawing/2014/main" id="{72E5BE78-1180-4BDB-7923-E45753FA349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6172824" y="5828210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800" dirty="0">
                <a:solidFill>
                  <a:srgbClr val="FFFF00"/>
                </a:solidFill>
                <a:latin typeface="Calibri" panose="020F0502020204030204" pitchFamily="34" charset="0"/>
              </a:rPr>
              <a:t>2023</a:t>
            </a:r>
            <a:endParaRPr lang="pl-PL" altLang="pl-PL" sz="1350" dirty="0">
              <a:solidFill>
                <a:srgbClr val="FFFF00"/>
              </a:solidFill>
            </a:endParaRPr>
          </a:p>
        </p:txBody>
      </p:sp>
      <p:sp>
        <p:nvSpPr>
          <p:cNvPr id="82" name="Rectangle 50">
            <a:extLst>
              <a:ext uri="{FF2B5EF4-FFF2-40B4-BE49-F238E27FC236}">
                <a16:creationId xmlns:a16="http://schemas.microsoft.com/office/drawing/2014/main" id="{D98DABA5-370F-BE76-E504-FBA30DD965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4265" y="2675072"/>
            <a:ext cx="1651862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r>
              <a:rPr lang="pl-PL" altLang="pl-PL" sz="1575" b="1" dirty="0">
                <a:solidFill>
                  <a:schemeClr val="bg1"/>
                </a:solidFill>
                <a:latin typeface="Calibri" panose="020F0502020204030204" pitchFamily="34" charset="0"/>
              </a:rPr>
              <a:t>Tempo wzrostu PKB</a:t>
            </a:r>
            <a:endParaRPr lang="pl-PL" altLang="pl-PL" sz="13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485813"/>
      </p:ext>
    </p:ext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6" grpId="0"/>
      <p:bldP spid="49" grpId="0" animBg="1"/>
      <p:bldP spid="49" grpId="1" animBg="1"/>
      <p:bldP spid="51" grpId="0" animBg="1"/>
      <p:bldP spid="5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WTrhj6HCJ.wWy3Pjybfw"/>
</p:tagLst>
</file>

<file path=ppt/theme/theme1.xml><?xml version="1.0" encoding="utf-8"?>
<a:theme xmlns:a="http://schemas.openxmlformats.org/drawingml/2006/main" name="Elektryzujący">
  <a:themeElements>
    <a:clrScheme name="Elektryzujący 1">
      <a:dk1>
        <a:srgbClr val="001932"/>
      </a:dk1>
      <a:lt1>
        <a:srgbClr val="FFFFFF"/>
      </a:lt1>
      <a:dk2>
        <a:srgbClr val="2181B7"/>
      </a:dk2>
      <a:lt2>
        <a:srgbClr val="CCFFFF"/>
      </a:lt2>
      <a:accent1>
        <a:srgbClr val="99FFCC"/>
      </a:accent1>
      <a:accent2>
        <a:srgbClr val="01B0FF"/>
      </a:accent2>
      <a:accent3>
        <a:srgbClr val="ABC1D8"/>
      </a:accent3>
      <a:accent4>
        <a:srgbClr val="DADADA"/>
      </a:accent4>
      <a:accent5>
        <a:srgbClr val="CAFFE2"/>
      </a:accent5>
      <a:accent6>
        <a:srgbClr val="019FE7"/>
      </a:accent6>
      <a:hlink>
        <a:srgbClr val="6666FF"/>
      </a:hlink>
      <a:folHlink>
        <a:srgbClr val="1C6D9A"/>
      </a:folHlink>
    </a:clrScheme>
    <a:fontScheme name="Elektryzujący">
      <a:majorFont>
        <a:latin typeface="Impact"/>
        <a:ea typeface=""/>
        <a:cs typeface=""/>
      </a:majorFont>
      <a:minorFont>
        <a:latin typeface="Impac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Elektryzujący 1">
        <a:dk1>
          <a:srgbClr val="001932"/>
        </a:dk1>
        <a:lt1>
          <a:srgbClr val="FFFFFF"/>
        </a:lt1>
        <a:dk2>
          <a:srgbClr val="2181B7"/>
        </a:dk2>
        <a:lt2>
          <a:srgbClr val="CCFFFF"/>
        </a:lt2>
        <a:accent1>
          <a:srgbClr val="99FFCC"/>
        </a:accent1>
        <a:accent2>
          <a:srgbClr val="01B0FF"/>
        </a:accent2>
        <a:accent3>
          <a:srgbClr val="ABC1D8"/>
        </a:accent3>
        <a:accent4>
          <a:srgbClr val="DADADA"/>
        </a:accent4>
        <a:accent5>
          <a:srgbClr val="CAFFE2"/>
        </a:accent5>
        <a:accent6>
          <a:srgbClr val="019FE7"/>
        </a:accent6>
        <a:hlink>
          <a:srgbClr val="6666FF"/>
        </a:hlink>
        <a:folHlink>
          <a:srgbClr val="1C6D9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lektryzujący 2">
        <a:dk1>
          <a:srgbClr val="000000"/>
        </a:dk1>
        <a:lt1>
          <a:srgbClr val="FFFFFF"/>
        </a:lt1>
        <a:dk2>
          <a:srgbClr val="000066"/>
        </a:dk2>
        <a:lt2>
          <a:srgbClr val="969696"/>
        </a:lt2>
        <a:accent1>
          <a:srgbClr val="666699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B8B8CA"/>
        </a:accent5>
        <a:accent6>
          <a:srgbClr val="B9B9E7"/>
        </a:accent6>
        <a:hlink>
          <a:srgbClr val="CC00CC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ktryzujący 3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ktryzujący 4">
        <a:dk1>
          <a:srgbClr val="000000"/>
        </a:dk1>
        <a:lt1>
          <a:srgbClr val="FFFFCC"/>
        </a:lt1>
        <a:dk2>
          <a:srgbClr val="FF6600"/>
        </a:dk2>
        <a:lt2>
          <a:srgbClr val="333300"/>
        </a:lt2>
        <a:accent1>
          <a:srgbClr val="800000"/>
        </a:accent1>
        <a:accent2>
          <a:srgbClr val="CC6600"/>
        </a:accent2>
        <a:accent3>
          <a:srgbClr val="FFFFE2"/>
        </a:accent3>
        <a:accent4>
          <a:srgbClr val="000000"/>
        </a:accent4>
        <a:accent5>
          <a:srgbClr val="C0AAAA"/>
        </a:accent5>
        <a:accent6>
          <a:srgbClr val="B95C00"/>
        </a:accent6>
        <a:hlink>
          <a:srgbClr val="808000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ktryzujący 5">
        <a:dk1>
          <a:srgbClr val="1C3956"/>
        </a:dk1>
        <a:lt1>
          <a:srgbClr val="FFFFFF"/>
        </a:lt1>
        <a:dk2>
          <a:srgbClr val="003366"/>
        </a:dk2>
        <a:lt2>
          <a:srgbClr val="DDDDDD"/>
        </a:lt2>
        <a:accent1>
          <a:srgbClr val="3D7CBB"/>
        </a:accent1>
        <a:accent2>
          <a:srgbClr val="00152A"/>
        </a:accent2>
        <a:accent3>
          <a:srgbClr val="AAADB8"/>
        </a:accent3>
        <a:accent4>
          <a:srgbClr val="DADADA"/>
        </a:accent4>
        <a:accent5>
          <a:srgbClr val="AFBFDA"/>
        </a:accent5>
        <a:accent6>
          <a:srgbClr val="001225"/>
        </a:accent6>
        <a:hlink>
          <a:srgbClr val="33CCCC"/>
        </a:hlink>
        <a:folHlink>
          <a:srgbClr val="96B9D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lektryzujący 6">
        <a:dk1>
          <a:srgbClr val="000000"/>
        </a:dk1>
        <a:lt1>
          <a:srgbClr val="FFFFFF"/>
        </a:lt1>
        <a:dk2>
          <a:srgbClr val="440044"/>
        </a:dk2>
        <a:lt2>
          <a:srgbClr val="491D49"/>
        </a:lt2>
        <a:accent1>
          <a:srgbClr val="9D9DBD"/>
        </a:accent1>
        <a:accent2>
          <a:srgbClr val="14213C"/>
        </a:accent2>
        <a:accent3>
          <a:srgbClr val="FFFFFF"/>
        </a:accent3>
        <a:accent4>
          <a:srgbClr val="000000"/>
        </a:accent4>
        <a:accent5>
          <a:srgbClr val="CCCCDB"/>
        </a:accent5>
        <a:accent6>
          <a:srgbClr val="111D35"/>
        </a:accent6>
        <a:hlink>
          <a:srgbClr val="666699"/>
        </a:hlink>
        <a:folHlink>
          <a:srgbClr val="DBDBF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ktryzujący 7">
        <a:dk1>
          <a:srgbClr val="000000"/>
        </a:dk1>
        <a:lt1>
          <a:srgbClr val="FFFFFF"/>
        </a:lt1>
        <a:dk2>
          <a:srgbClr val="000000"/>
        </a:dk2>
        <a:lt2>
          <a:srgbClr val="001A00"/>
        </a:lt2>
        <a:accent1>
          <a:srgbClr val="339966"/>
        </a:accent1>
        <a:accent2>
          <a:srgbClr val="003300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002D00"/>
        </a:accent6>
        <a:hlink>
          <a:srgbClr val="FF9933"/>
        </a:hlink>
        <a:folHlink>
          <a:srgbClr val="AFE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ktryzujący 8">
        <a:dk1>
          <a:srgbClr val="000000"/>
        </a:dk1>
        <a:lt1>
          <a:srgbClr val="FFFFFF"/>
        </a:lt1>
        <a:dk2>
          <a:srgbClr val="000000"/>
        </a:dk2>
        <a:lt2>
          <a:srgbClr val="FFCC00"/>
        </a:lt2>
        <a:accent1>
          <a:srgbClr val="FF9900"/>
        </a:accent1>
        <a:accent2>
          <a:srgbClr val="D60093"/>
        </a:accent2>
        <a:accent3>
          <a:srgbClr val="AAAAAA"/>
        </a:accent3>
        <a:accent4>
          <a:srgbClr val="DADADA"/>
        </a:accent4>
        <a:accent5>
          <a:srgbClr val="FFCAAA"/>
        </a:accent5>
        <a:accent6>
          <a:srgbClr val="C20085"/>
        </a:accent6>
        <a:hlink>
          <a:srgbClr val="9966FF"/>
        </a:hlink>
        <a:folHlink>
          <a:srgbClr val="80808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:\Program Files\Microsoft Office\Szablony\Projekty prezentacji\Elektryzujący.pot</Template>
  <TotalTime>2545</TotalTime>
  <Words>414</Words>
  <Application>Microsoft Office PowerPoint</Application>
  <PresentationFormat>On-screen Show (4:3)</PresentationFormat>
  <Paragraphs>188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1" baseType="lpstr">
      <vt:lpstr>Arial</vt:lpstr>
      <vt:lpstr>Arial Narrow</vt:lpstr>
      <vt:lpstr>Calibri</vt:lpstr>
      <vt:lpstr>Georgia</vt:lpstr>
      <vt:lpstr>Gill Sans</vt:lpstr>
      <vt:lpstr>Helvetica Neue</vt:lpstr>
      <vt:lpstr>Impact</vt:lpstr>
      <vt:lpstr>Monotype Sorts</vt:lpstr>
      <vt:lpstr>Segoe UI Semibold</vt:lpstr>
      <vt:lpstr>Times New Roman</vt:lpstr>
      <vt:lpstr>Elektryzujący</vt:lpstr>
      <vt:lpstr>think-cell Slide</vt:lpstr>
      <vt:lpstr>Współczesne i przyszłe  wyzwania globalnej ekonomii  ważne dla konstruowania  łańcuchów dostaw    Witold M.Orłowski     </vt:lpstr>
      <vt:lpstr>Świat w roku 2000</vt:lpstr>
      <vt:lpstr>PowerPoint Presentation</vt:lpstr>
      <vt:lpstr>Światowe  łańcuchy dostaw</vt:lpstr>
      <vt:lpstr>Świat w roku 2024</vt:lpstr>
      <vt:lpstr>Co się dzieje? Stan nastrojów</vt:lpstr>
      <vt:lpstr>Stan gospodarki</vt:lpstr>
      <vt:lpstr>Perspektywy</vt:lpstr>
      <vt:lpstr>PowerPoint Presentation</vt:lpstr>
      <vt:lpstr>Stan polskiej gospodarki</vt:lpstr>
      <vt:lpstr>PowerPoint Presentation</vt:lpstr>
      <vt:lpstr>PowerPoint Presentation</vt:lpstr>
      <vt:lpstr>PowerPoint Presentation</vt:lpstr>
      <vt:lpstr>PowerPoint Presentation</vt:lpstr>
      <vt:lpstr> </vt:lpstr>
      <vt:lpstr>Rewolucyjne zmiany</vt:lpstr>
      <vt:lpstr>PowerPoint Presentation</vt:lpstr>
      <vt:lpstr>Nie tylko roboty przemysłowe…</vt:lpstr>
      <vt:lpstr>Jak to wpłynie na globalne łańcuchy dostaw?</vt:lpstr>
    </vt:vector>
  </TitlesOfParts>
  <Company>NOB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aa</dc:title>
  <dc:creator>Witold Orłowski</dc:creator>
  <cp:lastModifiedBy>Witold Orlowski (PL)</cp:lastModifiedBy>
  <cp:revision>60</cp:revision>
  <dcterms:created xsi:type="dcterms:W3CDTF">2004-10-03T13:04:56Z</dcterms:created>
  <dcterms:modified xsi:type="dcterms:W3CDTF">2024-09-11T16:52:25Z</dcterms:modified>
</cp:coreProperties>
</file>